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1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Override2.xml" ContentType="application/vnd.openxmlformats-officedocument.themeOverr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heme/themeOverride3.xml" ContentType="application/vnd.openxmlformats-officedocument.themeOverrid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heme/themeOverride4.xml" ContentType="application/vnd.openxmlformats-officedocument.themeOverride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theme/theme2.xml" ContentType="application/vnd.openxmlformats-officedocument.theme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heme/themeOverride5.xml" ContentType="application/vnd.openxmlformats-officedocument.themeOverride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heme/themeOverride6.xml" ContentType="application/vnd.openxmlformats-officedocument.themeOverride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heme/themeOverride7.xml" ContentType="application/vnd.openxmlformats-officedocument.themeOverride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theme/theme3.xml" ContentType="application/vnd.openxmlformats-officedocument.theme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heme/themeOverride8.xml" ContentType="application/vnd.openxmlformats-officedocument.themeOverride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heme/themeOverride9.xml" ContentType="application/vnd.openxmlformats-officedocument.themeOverride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theme/theme4.xml" ContentType="application/vnd.openxmlformats-officedocument.theme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heme/themeOverride10.xml" ContentType="application/vnd.openxmlformats-officedocument.themeOverride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heme/themeOverride11.xml" ContentType="application/vnd.openxmlformats-officedocument.themeOverride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theme/theme5.xml" ContentType="application/vnd.openxmlformats-officedocument.theme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heme/theme6.xml" ContentType="application/vnd.openxmlformats-officedocument.theme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185" r:id="rId1"/>
    <p:sldMasterId id="2147486477" r:id="rId2"/>
    <p:sldMasterId id="2147487027" r:id="rId3"/>
    <p:sldMasterId id="2147486851" r:id="rId4"/>
    <p:sldMasterId id="2147487359" r:id="rId5"/>
  </p:sldMasterIdLst>
  <p:notesMasterIdLst>
    <p:notesMasterId r:id="rId8"/>
  </p:notesMasterIdLst>
  <p:sldIdLst>
    <p:sldId id="271" r:id="rId6"/>
    <p:sldId id="272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D1B24"/>
    <a:srgbClr val="C00000"/>
    <a:srgbClr val="E5E5E5"/>
    <a:srgbClr val="09397A"/>
    <a:srgbClr val="C1D9FA"/>
    <a:srgbClr val="0C4DA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46CBB2E-B39F-433D-B9A4-F0EEB83C8675}" v="149" dt="2025-06-06T05:47:51.75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94"/>
  </p:normalViewPr>
  <p:slideViewPr>
    <p:cSldViewPr snapToGrid="0">
      <p:cViewPr>
        <p:scale>
          <a:sx n="136" d="100"/>
          <a:sy n="136" d="100"/>
        </p:scale>
        <p:origin x="216" y="-2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6/11/relationships/changesInfo" Target="changesInfos/changesInfo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rthak Patnaik" userId="S::sarthak.patnaik@exideenergy.co.in::fc667910-885e-4c86-94ba-eb177ee53751" providerId="AD" clId="Web-{E8F76B36-B940-8719-FE93-17F11BADEED8}"/>
    <pc:docChg chg="modSld">
      <pc:chgData name="Sarthak Patnaik" userId="S::sarthak.patnaik@exideenergy.co.in::fc667910-885e-4c86-94ba-eb177ee53751" providerId="AD" clId="Web-{E8F76B36-B940-8719-FE93-17F11BADEED8}" dt="2025-06-03T10:19:51.220" v="35"/>
      <pc:docMkLst>
        <pc:docMk/>
      </pc:docMkLst>
      <pc:sldChg chg="modSp">
        <pc:chgData name="Sarthak Patnaik" userId="S::sarthak.patnaik@exideenergy.co.in::fc667910-885e-4c86-94ba-eb177ee53751" providerId="AD" clId="Web-{E8F76B36-B940-8719-FE93-17F11BADEED8}" dt="2025-06-03T10:19:51.220" v="35"/>
        <pc:sldMkLst>
          <pc:docMk/>
          <pc:sldMk cId="1067858966" sldId="270"/>
        </pc:sldMkLst>
        <pc:graphicFrameChg chg="mod modGraphic">
          <ac:chgData name="Sarthak Patnaik" userId="S::sarthak.patnaik@exideenergy.co.in::fc667910-885e-4c86-94ba-eb177ee53751" providerId="AD" clId="Web-{E8F76B36-B940-8719-FE93-17F11BADEED8}" dt="2025-06-03T10:19:51.220" v="35"/>
          <ac:graphicFrameMkLst>
            <pc:docMk/>
            <pc:sldMk cId="1067858966" sldId="270"/>
            <ac:graphicFrameMk id="42" creationId="{D1E2FBDB-FF10-C853-E0BD-68CC5C24800E}"/>
          </ac:graphicFrameMkLst>
        </pc:graphicFrameChg>
      </pc:sldChg>
    </pc:docChg>
  </pc:docChgLst>
  <pc:docChgLst>
    <pc:chgData name="Pulkit Sharma" userId="4adc590f-5f7b-4ae1-9619-eecec2ffe104" providerId="ADAL" clId="{146CBB2E-B39F-433D-B9A4-F0EEB83C8675}"/>
    <pc:docChg chg="undo custSel addSld delSld modSld addMainMaster delMainMaster">
      <pc:chgData name="Pulkit Sharma" userId="4adc590f-5f7b-4ae1-9619-eecec2ffe104" providerId="ADAL" clId="{146CBB2E-B39F-433D-B9A4-F0EEB83C8675}" dt="2025-06-06T05:53:25.908" v="2369" actId="20577"/>
      <pc:docMkLst>
        <pc:docMk/>
      </pc:docMkLst>
      <pc:sldChg chg="addSp modSp del mod">
        <pc:chgData name="Pulkit Sharma" userId="4adc590f-5f7b-4ae1-9619-eecec2ffe104" providerId="ADAL" clId="{146CBB2E-B39F-433D-B9A4-F0EEB83C8675}" dt="2025-06-02T16:37:30.301" v="40" actId="2696"/>
        <pc:sldMkLst>
          <pc:docMk/>
          <pc:sldMk cId="2612021914" sldId="258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3455695012" sldId="259"/>
        </pc:sldMkLst>
      </pc:sldChg>
      <pc:sldChg chg="add del">
        <pc:chgData name="Pulkit Sharma" userId="4adc590f-5f7b-4ae1-9619-eecec2ffe104" providerId="ADAL" clId="{146CBB2E-B39F-433D-B9A4-F0EEB83C8675}" dt="2025-06-02T16:25:58.234" v="33" actId="47"/>
        <pc:sldMkLst>
          <pc:docMk/>
          <pc:sldMk cId="4172111099" sldId="259"/>
        </pc:sldMkLst>
      </pc:sldChg>
      <pc:sldChg chg="add del">
        <pc:chgData name="Pulkit Sharma" userId="4adc590f-5f7b-4ae1-9619-eecec2ffe104" providerId="ADAL" clId="{146CBB2E-B39F-433D-B9A4-F0EEB83C8675}" dt="2025-06-02T17:46:03.947" v="1933" actId="47"/>
        <pc:sldMkLst>
          <pc:docMk/>
          <pc:sldMk cId="1497509105" sldId="260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3187717205" sldId="260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191593593" sldId="261"/>
        </pc:sldMkLst>
      </pc:sldChg>
      <pc:sldChg chg="add del">
        <pc:chgData name="Pulkit Sharma" userId="4adc590f-5f7b-4ae1-9619-eecec2ffe104" providerId="ADAL" clId="{146CBB2E-B39F-433D-B9A4-F0EEB83C8675}" dt="2025-06-02T17:46:05.115" v="1934" actId="47"/>
        <pc:sldMkLst>
          <pc:docMk/>
          <pc:sldMk cId="3146617366" sldId="261"/>
        </pc:sldMkLst>
      </pc:sldChg>
      <pc:sldChg chg="add del">
        <pc:chgData name="Pulkit Sharma" userId="4adc590f-5f7b-4ae1-9619-eecec2ffe104" providerId="ADAL" clId="{146CBB2E-B39F-433D-B9A4-F0EEB83C8675}" dt="2025-06-02T17:46:08.377" v="1935" actId="47"/>
        <pc:sldMkLst>
          <pc:docMk/>
          <pc:sldMk cId="2131233930" sldId="262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2523220275" sldId="262"/>
        </pc:sldMkLst>
      </pc:sldChg>
      <pc:sldChg chg="add del">
        <pc:chgData name="Pulkit Sharma" userId="4adc590f-5f7b-4ae1-9619-eecec2ffe104" providerId="ADAL" clId="{146CBB2E-B39F-433D-B9A4-F0EEB83C8675}" dt="2025-06-02T16:25:42.923" v="32" actId="47"/>
        <pc:sldMkLst>
          <pc:docMk/>
          <pc:sldMk cId="803486077" sldId="263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4089246788" sldId="263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2780470553" sldId="264"/>
        </pc:sldMkLst>
      </pc:sldChg>
      <pc:sldChg chg="add del">
        <pc:chgData name="Pulkit Sharma" userId="4adc590f-5f7b-4ae1-9619-eecec2ffe104" providerId="ADAL" clId="{146CBB2E-B39F-433D-B9A4-F0EEB83C8675}" dt="2025-06-02T17:46:08.377" v="1935" actId="47"/>
        <pc:sldMkLst>
          <pc:docMk/>
          <pc:sldMk cId="2932513249" sldId="264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1348767513" sldId="265"/>
        </pc:sldMkLst>
      </pc:sldChg>
      <pc:sldChg chg="add del">
        <pc:chgData name="Pulkit Sharma" userId="4adc590f-5f7b-4ae1-9619-eecec2ffe104" providerId="ADAL" clId="{146CBB2E-B39F-433D-B9A4-F0EEB83C8675}" dt="2025-06-02T17:46:08.377" v="1935" actId="47"/>
        <pc:sldMkLst>
          <pc:docMk/>
          <pc:sldMk cId="1802572317" sldId="265"/>
        </pc:sldMkLst>
      </pc:sldChg>
      <pc:sldChg chg="add del">
        <pc:chgData name="Pulkit Sharma" userId="4adc590f-5f7b-4ae1-9619-eecec2ffe104" providerId="ADAL" clId="{146CBB2E-B39F-433D-B9A4-F0EEB83C8675}" dt="2025-06-02T17:46:08.377" v="1935" actId="47"/>
        <pc:sldMkLst>
          <pc:docMk/>
          <pc:sldMk cId="767035877" sldId="266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3036503758" sldId="266"/>
        </pc:sldMkLst>
      </pc:sldChg>
      <pc:sldChg chg="add del">
        <pc:chgData name="Pulkit Sharma" userId="4adc590f-5f7b-4ae1-9619-eecec2ffe104" providerId="ADAL" clId="{146CBB2E-B39F-433D-B9A4-F0EEB83C8675}" dt="2025-06-02T17:46:08.377" v="1935" actId="47"/>
        <pc:sldMkLst>
          <pc:docMk/>
          <pc:sldMk cId="3406293148" sldId="267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4112133579" sldId="267"/>
        </pc:sldMkLst>
      </pc:sldChg>
      <pc:sldChg chg="add del">
        <pc:chgData name="Pulkit Sharma" userId="4adc590f-5f7b-4ae1-9619-eecec2ffe104" providerId="ADAL" clId="{146CBB2E-B39F-433D-B9A4-F0EEB83C8675}" dt="2025-06-02T17:46:08.377" v="1935" actId="47"/>
        <pc:sldMkLst>
          <pc:docMk/>
          <pc:sldMk cId="1196479855" sldId="268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3290916585" sldId="268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8221800" sldId="269"/>
        </pc:sldMkLst>
      </pc:sldChg>
      <pc:sldChg chg="addSp modSp add del">
        <pc:chgData name="Pulkit Sharma" userId="4adc590f-5f7b-4ae1-9619-eecec2ffe104" providerId="ADAL" clId="{146CBB2E-B39F-433D-B9A4-F0EEB83C8675}" dt="2025-06-02T17:46:08.377" v="1935" actId="47"/>
        <pc:sldMkLst>
          <pc:docMk/>
          <pc:sldMk cId="1997998825" sldId="269"/>
        </pc:sldMkLst>
      </pc:sldChg>
      <pc:sldChg chg="addSp delSp modSp new mod">
        <pc:chgData name="Pulkit Sharma" userId="4adc590f-5f7b-4ae1-9619-eecec2ffe104" providerId="ADAL" clId="{146CBB2E-B39F-433D-B9A4-F0EEB83C8675}" dt="2025-06-06T05:53:25.908" v="2369" actId="20577"/>
        <pc:sldMkLst>
          <pc:docMk/>
          <pc:sldMk cId="1067858966" sldId="270"/>
        </pc:sldMkLst>
        <pc:spChg chg="mod">
          <ac:chgData name="Pulkit Sharma" userId="4adc590f-5f7b-4ae1-9619-eecec2ffe104" providerId="ADAL" clId="{146CBB2E-B39F-433D-B9A4-F0EEB83C8675}" dt="2025-06-02T17:52:03.642" v="2000" actId="20577"/>
          <ac:spMkLst>
            <pc:docMk/>
            <pc:sldMk cId="1067858966" sldId="270"/>
            <ac:spMk id="2" creationId="{24831BB9-ADB7-75BA-4A4F-75277013D4AF}"/>
          </ac:spMkLst>
        </pc:spChg>
        <pc:spChg chg="add mod">
          <ac:chgData name="Pulkit Sharma" userId="4adc590f-5f7b-4ae1-9619-eecec2ffe104" providerId="ADAL" clId="{146CBB2E-B39F-433D-B9A4-F0EEB83C8675}" dt="2025-06-02T17:20:24.235" v="1364" actId="1035"/>
          <ac:spMkLst>
            <pc:docMk/>
            <pc:sldMk cId="1067858966" sldId="270"/>
            <ac:spMk id="3" creationId="{4C013458-CDD4-A177-D470-E44DA2A8728E}"/>
          </ac:spMkLst>
        </pc:spChg>
        <pc:spChg chg="add mod">
          <ac:chgData name="Pulkit Sharma" userId="4adc590f-5f7b-4ae1-9619-eecec2ffe104" providerId="ADAL" clId="{146CBB2E-B39F-433D-B9A4-F0EEB83C8675}" dt="2025-06-02T16:52:21.800" v="377" actId="1035"/>
          <ac:spMkLst>
            <pc:docMk/>
            <pc:sldMk cId="1067858966" sldId="270"/>
            <ac:spMk id="4" creationId="{1278BCA7-2901-A1CC-7E2A-467D5AEB05D8}"/>
          </ac:spMkLst>
        </pc:spChg>
        <pc:spChg chg="add mod">
          <ac:chgData name="Pulkit Sharma" userId="4adc590f-5f7b-4ae1-9619-eecec2ffe104" providerId="ADAL" clId="{146CBB2E-B39F-433D-B9A4-F0EEB83C8675}" dt="2025-06-02T17:02:20.848" v="872" actId="1036"/>
          <ac:spMkLst>
            <pc:docMk/>
            <pc:sldMk cId="1067858966" sldId="270"/>
            <ac:spMk id="8" creationId="{831639C4-287D-2247-65F1-28A8D9F07FE8}"/>
          </ac:spMkLst>
        </pc:spChg>
        <pc:spChg chg="add mod ord">
          <ac:chgData name="Pulkit Sharma" userId="4adc590f-5f7b-4ae1-9619-eecec2ffe104" providerId="ADAL" clId="{146CBB2E-B39F-433D-B9A4-F0EEB83C8675}" dt="2025-06-06T05:45:01.076" v="2168" actId="167"/>
          <ac:spMkLst>
            <pc:docMk/>
            <pc:sldMk cId="1067858966" sldId="270"/>
            <ac:spMk id="9" creationId="{8B334965-67C3-9536-0DCF-DA4DE7683FA7}"/>
          </ac:spMkLst>
        </pc:spChg>
        <pc:spChg chg="add mod">
          <ac:chgData name="Pulkit Sharma" userId="4adc590f-5f7b-4ae1-9619-eecec2ffe104" providerId="ADAL" clId="{146CBB2E-B39F-433D-B9A4-F0EEB83C8675}" dt="2025-06-02T17:20:24.235" v="1364" actId="1035"/>
          <ac:spMkLst>
            <pc:docMk/>
            <pc:sldMk cId="1067858966" sldId="270"/>
            <ac:spMk id="11" creationId="{DA1DD1F8-CE0B-6BA0-9B26-701F8BD2DAA8}"/>
          </ac:spMkLst>
        </pc:spChg>
        <pc:spChg chg="add mod">
          <ac:chgData name="Pulkit Sharma" userId="4adc590f-5f7b-4ae1-9619-eecec2ffe104" providerId="ADAL" clId="{146CBB2E-B39F-433D-B9A4-F0EEB83C8675}" dt="2025-06-02T17:20:24.235" v="1364" actId="1035"/>
          <ac:spMkLst>
            <pc:docMk/>
            <pc:sldMk cId="1067858966" sldId="270"/>
            <ac:spMk id="12" creationId="{74F13E07-009F-D66A-D918-E21FA0C3365D}"/>
          </ac:spMkLst>
        </pc:spChg>
        <pc:spChg chg="add mod">
          <ac:chgData name="Pulkit Sharma" userId="4adc590f-5f7b-4ae1-9619-eecec2ffe104" providerId="ADAL" clId="{146CBB2E-B39F-433D-B9A4-F0EEB83C8675}" dt="2025-06-02T17:20:24.235" v="1364" actId="1035"/>
          <ac:spMkLst>
            <pc:docMk/>
            <pc:sldMk cId="1067858966" sldId="270"/>
            <ac:spMk id="13" creationId="{020C27C1-40C3-2837-B7A7-B788215463D4}"/>
          </ac:spMkLst>
        </pc:spChg>
        <pc:spChg chg="add mod">
          <ac:chgData name="Pulkit Sharma" userId="4adc590f-5f7b-4ae1-9619-eecec2ffe104" providerId="ADAL" clId="{146CBB2E-B39F-433D-B9A4-F0EEB83C8675}" dt="2025-06-02T17:20:24.235" v="1364" actId="1035"/>
          <ac:spMkLst>
            <pc:docMk/>
            <pc:sldMk cId="1067858966" sldId="270"/>
            <ac:spMk id="18" creationId="{215988C0-263F-D9A7-92E2-85BA5130B6B5}"/>
          </ac:spMkLst>
        </pc:spChg>
        <pc:spChg chg="add mod">
          <ac:chgData name="Pulkit Sharma" userId="4adc590f-5f7b-4ae1-9619-eecec2ffe104" providerId="ADAL" clId="{146CBB2E-B39F-433D-B9A4-F0EEB83C8675}" dt="2025-06-02T17:20:24.235" v="1364" actId="1035"/>
          <ac:spMkLst>
            <pc:docMk/>
            <pc:sldMk cId="1067858966" sldId="270"/>
            <ac:spMk id="20" creationId="{283644D9-8D2C-3DAD-02E0-3D2D85904CAA}"/>
          </ac:spMkLst>
        </pc:spChg>
        <pc:spChg chg="add mod">
          <ac:chgData name="Pulkit Sharma" userId="4adc590f-5f7b-4ae1-9619-eecec2ffe104" providerId="ADAL" clId="{146CBB2E-B39F-433D-B9A4-F0EEB83C8675}" dt="2025-06-02T17:20:24.235" v="1364" actId="1035"/>
          <ac:spMkLst>
            <pc:docMk/>
            <pc:sldMk cId="1067858966" sldId="270"/>
            <ac:spMk id="23" creationId="{AC99CF18-E78F-343F-CE33-1AD5CB2771BB}"/>
          </ac:spMkLst>
        </pc:spChg>
        <pc:spChg chg="add mod">
          <ac:chgData name="Pulkit Sharma" userId="4adc590f-5f7b-4ae1-9619-eecec2ffe104" providerId="ADAL" clId="{146CBB2E-B39F-433D-B9A4-F0EEB83C8675}" dt="2025-06-02T17:20:24.235" v="1364" actId="1035"/>
          <ac:spMkLst>
            <pc:docMk/>
            <pc:sldMk cId="1067858966" sldId="270"/>
            <ac:spMk id="24" creationId="{E102627E-D7B6-15D7-8378-24480D449E09}"/>
          </ac:spMkLst>
        </pc:spChg>
        <pc:spChg chg="add mod">
          <ac:chgData name="Pulkit Sharma" userId="4adc590f-5f7b-4ae1-9619-eecec2ffe104" providerId="ADAL" clId="{146CBB2E-B39F-433D-B9A4-F0EEB83C8675}" dt="2025-06-02T17:20:24.235" v="1364" actId="1035"/>
          <ac:spMkLst>
            <pc:docMk/>
            <pc:sldMk cId="1067858966" sldId="270"/>
            <ac:spMk id="25" creationId="{CAD0F700-6150-B613-0A47-C29517C9EDA2}"/>
          </ac:spMkLst>
        </pc:spChg>
        <pc:spChg chg="add mod">
          <ac:chgData name="Pulkit Sharma" userId="4adc590f-5f7b-4ae1-9619-eecec2ffe104" providerId="ADAL" clId="{146CBB2E-B39F-433D-B9A4-F0EEB83C8675}" dt="2025-06-02T17:20:24.235" v="1364" actId="1035"/>
          <ac:spMkLst>
            <pc:docMk/>
            <pc:sldMk cId="1067858966" sldId="270"/>
            <ac:spMk id="26" creationId="{74802A77-C296-1A6A-5706-B9A49F5FF464}"/>
          </ac:spMkLst>
        </pc:spChg>
        <pc:spChg chg="add mod">
          <ac:chgData name="Pulkit Sharma" userId="4adc590f-5f7b-4ae1-9619-eecec2ffe104" providerId="ADAL" clId="{146CBB2E-B39F-433D-B9A4-F0EEB83C8675}" dt="2025-06-02T17:20:18.518" v="1346" actId="14100"/>
          <ac:spMkLst>
            <pc:docMk/>
            <pc:sldMk cId="1067858966" sldId="270"/>
            <ac:spMk id="27" creationId="{56D91221-AC59-B8C9-C265-3E93E52D90DA}"/>
          </ac:spMkLst>
        </pc:spChg>
        <pc:spChg chg="add mod">
          <ac:chgData name="Pulkit Sharma" userId="4adc590f-5f7b-4ae1-9619-eecec2ffe104" providerId="ADAL" clId="{146CBB2E-B39F-433D-B9A4-F0EEB83C8675}" dt="2025-06-06T05:53:08.900" v="2366" actId="20577"/>
          <ac:spMkLst>
            <pc:docMk/>
            <pc:sldMk cId="1067858966" sldId="270"/>
            <ac:spMk id="28" creationId="{18777752-59C9-BA51-8CE8-DD2AEEDDBFF8}"/>
          </ac:spMkLst>
        </pc:spChg>
        <pc:spChg chg="add mod ord">
          <ac:chgData name="Pulkit Sharma" userId="4adc590f-5f7b-4ae1-9619-eecec2ffe104" providerId="ADAL" clId="{146CBB2E-B39F-433D-B9A4-F0EEB83C8675}" dt="2025-06-06T05:44:38.207" v="2121" actId="1035"/>
          <ac:spMkLst>
            <pc:docMk/>
            <pc:sldMk cId="1067858966" sldId="270"/>
            <ac:spMk id="30" creationId="{83DB99A8-64E5-FF78-3D54-84279D4AD7CD}"/>
          </ac:spMkLst>
        </pc:spChg>
        <pc:spChg chg="add del mod">
          <ac:chgData name="Pulkit Sharma" userId="4adc590f-5f7b-4ae1-9619-eecec2ffe104" providerId="ADAL" clId="{146CBB2E-B39F-433D-B9A4-F0EEB83C8675}" dt="2025-06-06T05:53:12.385" v="2367" actId="478"/>
          <ac:spMkLst>
            <pc:docMk/>
            <pc:sldMk cId="1067858966" sldId="270"/>
            <ac:spMk id="31" creationId="{613372ED-ADBA-C461-3A5A-4431C12F0723}"/>
          </ac:spMkLst>
        </pc:spChg>
        <pc:spChg chg="add mod">
          <ac:chgData name="Pulkit Sharma" userId="4adc590f-5f7b-4ae1-9619-eecec2ffe104" providerId="ADAL" clId="{146CBB2E-B39F-433D-B9A4-F0EEB83C8675}" dt="2025-06-02T17:37:55.430" v="1656" actId="1076"/>
          <ac:spMkLst>
            <pc:docMk/>
            <pc:sldMk cId="1067858966" sldId="270"/>
            <ac:spMk id="32" creationId="{E39B26C7-ADDA-BB10-F5EC-8EDAC3B0A3D0}"/>
          </ac:spMkLst>
        </pc:spChg>
        <pc:spChg chg="add mod">
          <ac:chgData name="Pulkit Sharma" userId="4adc590f-5f7b-4ae1-9619-eecec2ffe104" providerId="ADAL" clId="{146CBB2E-B39F-433D-B9A4-F0EEB83C8675}" dt="2025-06-02T17:44:01.955" v="1825" actId="14100"/>
          <ac:spMkLst>
            <pc:docMk/>
            <pc:sldMk cId="1067858966" sldId="270"/>
            <ac:spMk id="34" creationId="{A7CB937A-B8B7-EE11-420C-670163EC4399}"/>
          </ac:spMkLst>
        </pc:spChg>
        <pc:spChg chg="mod">
          <ac:chgData name="Pulkit Sharma" userId="4adc590f-5f7b-4ae1-9619-eecec2ffe104" providerId="ADAL" clId="{146CBB2E-B39F-433D-B9A4-F0EEB83C8675}" dt="2025-06-03T10:10:09.356" v="2050" actId="1038"/>
          <ac:spMkLst>
            <pc:docMk/>
            <pc:sldMk cId="1067858966" sldId="270"/>
            <ac:spMk id="38" creationId="{55BF47DC-0706-99A0-E288-CC80BBE446EE}"/>
          </ac:spMkLst>
        </pc:spChg>
        <pc:spChg chg="add mod">
          <ac:chgData name="Pulkit Sharma" userId="4adc590f-5f7b-4ae1-9619-eecec2ffe104" providerId="ADAL" clId="{146CBB2E-B39F-433D-B9A4-F0EEB83C8675}" dt="2025-06-03T10:10:05.084" v="2049" actId="1037"/>
          <ac:spMkLst>
            <pc:docMk/>
            <pc:sldMk cId="1067858966" sldId="270"/>
            <ac:spMk id="40" creationId="{2DD3FEBE-A6BC-9696-57A5-F09999DABE6F}"/>
          </ac:spMkLst>
        </pc:spChg>
        <pc:spChg chg="add mod">
          <ac:chgData name="Pulkit Sharma" userId="4adc590f-5f7b-4ae1-9619-eecec2ffe104" providerId="ADAL" clId="{146CBB2E-B39F-433D-B9A4-F0EEB83C8675}" dt="2025-06-02T18:00:30.849" v="2017" actId="20577"/>
          <ac:spMkLst>
            <pc:docMk/>
            <pc:sldMk cId="1067858966" sldId="270"/>
            <ac:spMk id="41" creationId="{4DAF1979-0901-F41E-04CF-F20F7DE5CDAD}"/>
          </ac:spMkLst>
        </pc:spChg>
        <pc:graphicFrameChg chg="add mod modGraphic">
          <ac:chgData name="Pulkit Sharma" userId="4adc590f-5f7b-4ae1-9619-eecec2ffe104" providerId="ADAL" clId="{146CBB2E-B39F-433D-B9A4-F0EEB83C8675}" dt="2025-06-06T05:50:16.221" v="2354" actId="207"/>
          <ac:graphicFrameMkLst>
            <pc:docMk/>
            <pc:sldMk cId="1067858966" sldId="270"/>
            <ac:graphicFrameMk id="29" creationId="{F41D7A3A-F75A-8897-372C-C0E9D538102B}"/>
          </ac:graphicFrameMkLst>
        </pc:graphicFrameChg>
        <pc:graphicFrameChg chg="add mod modGraphic">
          <ac:chgData name="Pulkit Sharma" userId="4adc590f-5f7b-4ae1-9619-eecec2ffe104" providerId="ADAL" clId="{146CBB2E-B39F-433D-B9A4-F0EEB83C8675}" dt="2025-06-06T05:52:52.543" v="2365" actId="1037"/>
          <ac:graphicFrameMkLst>
            <pc:docMk/>
            <pc:sldMk cId="1067858966" sldId="270"/>
            <ac:graphicFrameMk id="33" creationId="{95667327-68BB-5F71-CE41-0AD82FB5CFA4}"/>
          </ac:graphicFrameMkLst>
        </pc:graphicFrameChg>
        <pc:graphicFrameChg chg="add mod modGraphic">
          <ac:chgData name="Pulkit Sharma" userId="4adc590f-5f7b-4ae1-9619-eecec2ffe104" providerId="ADAL" clId="{146CBB2E-B39F-433D-B9A4-F0EEB83C8675}" dt="2025-06-06T05:53:25.908" v="2369" actId="20577"/>
          <ac:graphicFrameMkLst>
            <pc:docMk/>
            <pc:sldMk cId="1067858966" sldId="270"/>
            <ac:graphicFrameMk id="42" creationId="{D1E2FBDB-FF10-C853-E0BD-68CC5C24800E}"/>
          </ac:graphicFrameMkLst>
        </pc:graphicFrameChg>
        <pc:cxnChg chg="add mod">
          <ac:chgData name="Pulkit Sharma" userId="4adc590f-5f7b-4ae1-9619-eecec2ffe104" providerId="ADAL" clId="{146CBB2E-B39F-433D-B9A4-F0EEB83C8675}" dt="2025-06-02T16:56:25.046" v="548" actId="1035"/>
          <ac:cxnSpMkLst>
            <pc:docMk/>
            <pc:sldMk cId="1067858966" sldId="270"/>
            <ac:cxnSpMk id="15" creationId="{26887805-CB4C-D152-3435-E67615B243E9}"/>
          </ac:cxnSpMkLst>
        </pc:cxnChg>
        <pc:cxnChg chg="add mod">
          <ac:chgData name="Pulkit Sharma" userId="4adc590f-5f7b-4ae1-9619-eecec2ffe104" providerId="ADAL" clId="{146CBB2E-B39F-433D-B9A4-F0EEB83C8675}" dt="2025-06-02T16:56:33.117" v="550" actId="1076"/>
          <ac:cxnSpMkLst>
            <pc:docMk/>
            <pc:sldMk cId="1067858966" sldId="270"/>
            <ac:cxnSpMk id="17" creationId="{43E77D88-35C4-722A-29ED-1DFD632A51B3}"/>
          </ac:cxnSpMkLst>
        </pc:cxnChg>
        <pc:cxnChg chg="add mod">
          <ac:chgData name="Pulkit Sharma" userId="4adc590f-5f7b-4ae1-9619-eecec2ffe104" providerId="ADAL" clId="{146CBB2E-B39F-433D-B9A4-F0EEB83C8675}" dt="2025-06-02T17:04:47.182" v="1015" actId="1036"/>
          <ac:cxnSpMkLst>
            <pc:docMk/>
            <pc:sldMk cId="1067858966" sldId="270"/>
            <ac:cxnSpMk id="19" creationId="{D8FBBCBF-54C6-B076-AC1A-A9E77AC22D6D}"/>
          </ac:cxnSpMkLst>
        </pc:cxnChg>
        <pc:cxnChg chg="add mod">
          <ac:chgData name="Pulkit Sharma" userId="4adc590f-5f7b-4ae1-9619-eecec2ffe104" providerId="ADAL" clId="{146CBB2E-B39F-433D-B9A4-F0EEB83C8675}" dt="2025-06-02T17:02:40.292" v="874" actId="1076"/>
          <ac:cxnSpMkLst>
            <pc:docMk/>
            <pc:sldMk cId="1067858966" sldId="270"/>
            <ac:cxnSpMk id="21" creationId="{3756F0E3-A26B-A548-B533-AEF57BCB1908}"/>
          </ac:cxnSpMkLst>
        </pc:cxnChg>
        <pc:cxnChg chg="add mod">
          <ac:chgData name="Pulkit Sharma" userId="4adc590f-5f7b-4ae1-9619-eecec2ffe104" providerId="ADAL" clId="{146CBB2E-B39F-433D-B9A4-F0EEB83C8675}" dt="2025-06-02T17:04:25.379" v="973" actId="14100"/>
          <ac:cxnSpMkLst>
            <pc:docMk/>
            <pc:sldMk cId="1067858966" sldId="270"/>
            <ac:cxnSpMk id="22" creationId="{FEC9AA3B-BC9E-A5EC-C65D-6C1AF2B1E87D}"/>
          </ac:cxnSpMkLst>
        </pc:cxnChg>
        <pc:cxnChg chg="mod">
          <ac:chgData name="Pulkit Sharma" userId="4adc590f-5f7b-4ae1-9619-eecec2ffe104" providerId="ADAL" clId="{146CBB2E-B39F-433D-B9A4-F0EEB83C8675}" dt="2025-06-02T17:43:35.146" v="1800" actId="1076"/>
          <ac:cxnSpMkLst>
            <pc:docMk/>
            <pc:sldMk cId="1067858966" sldId="270"/>
            <ac:cxnSpMk id="36" creationId="{608B0F55-DFB3-1ACA-1578-E602DE72F27C}"/>
          </ac:cxnSpMkLst>
        </pc:cxnChg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2192271168" sldId="270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1315345847" sldId="271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282379334" sldId="272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2841740308" sldId="273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2207389080" sldId="274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1469838659" sldId="275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1331804954" sldId="276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3939657291" sldId="277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4255805332" sldId="278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12229162" sldId="279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99816093" sldId="280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223233527" sldId="281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998306675" sldId="282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208006274" sldId="283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1370564697" sldId="284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622471801" sldId="285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3975107049" sldId="286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3896937258" sldId="287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3650921445" sldId="288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3174021251" sldId="289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755102047" sldId="290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3092434720" sldId="291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3786867859" sldId="292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2310872810" sldId="293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431112594" sldId="294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1142671534" sldId="295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2830135827" sldId="296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2147135972" sldId="297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3512678249" sldId="298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1465786951" sldId="299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993162704" sldId="300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803486077" sldId="301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1750791161" sldId="302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2038855431" sldId="303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3888906437" sldId="304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3893185481" sldId="305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2179077366" sldId="306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1670352089" sldId="307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1335497330" sldId="308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1771459962" sldId="309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2413849948" sldId="310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1320568729" sldId="311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531493288" sldId="312"/>
        </pc:sldMkLst>
      </pc:sldChg>
      <pc:sldChg chg="modSp add del mod">
        <pc:chgData name="Pulkit Sharma" userId="4adc590f-5f7b-4ae1-9619-eecec2ffe104" providerId="ADAL" clId="{146CBB2E-B39F-433D-B9A4-F0EEB83C8675}" dt="2025-06-02T16:21:45.007" v="6"/>
        <pc:sldMkLst>
          <pc:docMk/>
          <pc:sldMk cId="1802572317" sldId="2147483544"/>
        </pc:sldMkLst>
      </pc:sldChg>
      <pc:sldMasterChg chg="del delSldLayout">
        <pc:chgData name="Pulkit Sharma" userId="4adc590f-5f7b-4ae1-9619-eecec2ffe104" providerId="ADAL" clId="{146CBB2E-B39F-433D-B9A4-F0EEB83C8675}" dt="2025-06-02T16:37:30.301" v="40" actId="2696"/>
        <pc:sldMasterMkLst>
          <pc:docMk/>
          <pc:sldMasterMk cId="421452910" sldId="2147483660"/>
        </pc:sldMasterMkLst>
        <pc:sldLayoutChg chg="del">
          <pc:chgData name="Pulkit Sharma" userId="4adc590f-5f7b-4ae1-9619-eecec2ffe104" providerId="ADAL" clId="{146CBB2E-B39F-433D-B9A4-F0EEB83C8675}" dt="2025-06-02T16:37:30.301" v="40" actId="2696"/>
          <pc:sldLayoutMkLst>
            <pc:docMk/>
            <pc:sldMasterMk cId="421452910" sldId="2147483660"/>
            <pc:sldLayoutMk cId="3345827540" sldId="2147483661"/>
          </pc:sldLayoutMkLst>
        </pc:sldLayoutChg>
        <pc:sldLayoutChg chg="del">
          <pc:chgData name="Pulkit Sharma" userId="4adc590f-5f7b-4ae1-9619-eecec2ffe104" providerId="ADAL" clId="{146CBB2E-B39F-433D-B9A4-F0EEB83C8675}" dt="2025-06-02T16:37:30.301" v="40" actId="2696"/>
          <pc:sldLayoutMkLst>
            <pc:docMk/>
            <pc:sldMasterMk cId="421452910" sldId="2147483660"/>
            <pc:sldLayoutMk cId="4161195735" sldId="2147483662"/>
          </pc:sldLayoutMkLst>
        </pc:sldLayoutChg>
        <pc:sldLayoutChg chg="del">
          <pc:chgData name="Pulkit Sharma" userId="4adc590f-5f7b-4ae1-9619-eecec2ffe104" providerId="ADAL" clId="{146CBB2E-B39F-433D-B9A4-F0EEB83C8675}" dt="2025-06-02T16:37:30.301" v="40" actId="2696"/>
          <pc:sldLayoutMkLst>
            <pc:docMk/>
            <pc:sldMasterMk cId="421452910" sldId="2147483660"/>
            <pc:sldLayoutMk cId="1614181894" sldId="2147483663"/>
          </pc:sldLayoutMkLst>
        </pc:sldLayoutChg>
        <pc:sldLayoutChg chg="del">
          <pc:chgData name="Pulkit Sharma" userId="4adc590f-5f7b-4ae1-9619-eecec2ffe104" providerId="ADAL" clId="{146CBB2E-B39F-433D-B9A4-F0EEB83C8675}" dt="2025-06-02T16:37:30.301" v="40" actId="2696"/>
          <pc:sldLayoutMkLst>
            <pc:docMk/>
            <pc:sldMasterMk cId="421452910" sldId="2147483660"/>
            <pc:sldLayoutMk cId="3509802142" sldId="2147483664"/>
          </pc:sldLayoutMkLst>
        </pc:sldLayoutChg>
        <pc:sldLayoutChg chg="del">
          <pc:chgData name="Pulkit Sharma" userId="4adc590f-5f7b-4ae1-9619-eecec2ffe104" providerId="ADAL" clId="{146CBB2E-B39F-433D-B9A4-F0EEB83C8675}" dt="2025-06-02T16:37:30.301" v="40" actId="2696"/>
          <pc:sldLayoutMkLst>
            <pc:docMk/>
            <pc:sldMasterMk cId="421452910" sldId="2147483660"/>
            <pc:sldLayoutMk cId="2293310392" sldId="2147483665"/>
          </pc:sldLayoutMkLst>
        </pc:sldLayoutChg>
        <pc:sldLayoutChg chg="del">
          <pc:chgData name="Pulkit Sharma" userId="4adc590f-5f7b-4ae1-9619-eecec2ffe104" providerId="ADAL" clId="{146CBB2E-B39F-433D-B9A4-F0EEB83C8675}" dt="2025-06-02T16:37:30.301" v="40" actId="2696"/>
          <pc:sldLayoutMkLst>
            <pc:docMk/>
            <pc:sldMasterMk cId="421452910" sldId="2147483660"/>
            <pc:sldLayoutMk cId="240425395" sldId="2147483666"/>
          </pc:sldLayoutMkLst>
        </pc:sldLayoutChg>
        <pc:sldLayoutChg chg="del">
          <pc:chgData name="Pulkit Sharma" userId="4adc590f-5f7b-4ae1-9619-eecec2ffe104" providerId="ADAL" clId="{146CBB2E-B39F-433D-B9A4-F0EEB83C8675}" dt="2025-06-02T16:37:30.301" v="40" actId="2696"/>
          <pc:sldLayoutMkLst>
            <pc:docMk/>
            <pc:sldMasterMk cId="421452910" sldId="2147483660"/>
            <pc:sldLayoutMk cId="3118991867" sldId="2147483667"/>
          </pc:sldLayoutMkLst>
        </pc:sldLayoutChg>
        <pc:sldLayoutChg chg="del">
          <pc:chgData name="Pulkit Sharma" userId="4adc590f-5f7b-4ae1-9619-eecec2ffe104" providerId="ADAL" clId="{146CBB2E-B39F-433D-B9A4-F0EEB83C8675}" dt="2025-06-02T16:37:30.301" v="40" actId="2696"/>
          <pc:sldLayoutMkLst>
            <pc:docMk/>
            <pc:sldMasterMk cId="421452910" sldId="2147483660"/>
            <pc:sldLayoutMk cId="705044944" sldId="2147483668"/>
          </pc:sldLayoutMkLst>
        </pc:sldLayoutChg>
        <pc:sldLayoutChg chg="del">
          <pc:chgData name="Pulkit Sharma" userId="4adc590f-5f7b-4ae1-9619-eecec2ffe104" providerId="ADAL" clId="{146CBB2E-B39F-433D-B9A4-F0EEB83C8675}" dt="2025-06-02T16:37:30.301" v="40" actId="2696"/>
          <pc:sldLayoutMkLst>
            <pc:docMk/>
            <pc:sldMasterMk cId="421452910" sldId="2147483660"/>
            <pc:sldLayoutMk cId="1259787377" sldId="2147483669"/>
          </pc:sldLayoutMkLst>
        </pc:sldLayoutChg>
        <pc:sldLayoutChg chg="del">
          <pc:chgData name="Pulkit Sharma" userId="4adc590f-5f7b-4ae1-9619-eecec2ffe104" providerId="ADAL" clId="{146CBB2E-B39F-433D-B9A4-F0EEB83C8675}" dt="2025-06-02T16:37:30.301" v="40" actId="2696"/>
          <pc:sldLayoutMkLst>
            <pc:docMk/>
            <pc:sldMasterMk cId="421452910" sldId="2147483660"/>
            <pc:sldLayoutMk cId="1451150342" sldId="2147483670"/>
          </pc:sldLayoutMkLst>
        </pc:sldLayoutChg>
        <pc:sldLayoutChg chg="del">
          <pc:chgData name="Pulkit Sharma" userId="4adc590f-5f7b-4ae1-9619-eecec2ffe104" providerId="ADAL" clId="{146CBB2E-B39F-433D-B9A4-F0EEB83C8675}" dt="2025-06-02T16:37:30.301" v="40" actId="2696"/>
          <pc:sldLayoutMkLst>
            <pc:docMk/>
            <pc:sldMasterMk cId="421452910" sldId="2147483660"/>
            <pc:sldLayoutMk cId="132788472" sldId="2147483671"/>
          </pc:sldLayoutMkLst>
        </pc:sldLayoutChg>
        <pc:sldLayoutChg chg="del">
          <pc:chgData name="Pulkit Sharma" userId="4adc590f-5f7b-4ae1-9619-eecec2ffe104" providerId="ADAL" clId="{146CBB2E-B39F-433D-B9A4-F0EEB83C8675}" dt="2025-06-02T16:21:32.341" v="2" actId="47"/>
          <pc:sldLayoutMkLst>
            <pc:docMk/>
            <pc:sldMasterMk cId="421452910" sldId="2147483660"/>
            <pc:sldLayoutMk cId="2226527006" sldId="2147483672"/>
          </pc:sldLayoutMkLst>
        </pc:sldLayoutChg>
      </pc:sldMasterChg>
      <pc:sldMasterChg chg="add addSldLayout delSldLayout">
        <pc:chgData name="Pulkit Sharma" userId="4adc590f-5f7b-4ae1-9619-eecec2ffe104" providerId="ADAL" clId="{146CBB2E-B39F-433D-B9A4-F0EEB83C8675}" dt="2025-06-02T16:25:29.677" v="9" actId="47"/>
        <pc:sldMasterMkLst>
          <pc:docMk/>
          <pc:sldMasterMk cId="1135730148" sldId="2147485185"/>
        </pc:sldMasterMkLst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872077894" sldId="214748518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389891343" sldId="214748518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682302672" sldId="214748518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753882626" sldId="214748518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340336157" sldId="214748519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215588550" sldId="214748519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410984013" sldId="214748519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98364496" sldId="214748519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198180609" sldId="214748519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45934383" sldId="214748519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327732769" sldId="214748519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381488552" sldId="214748519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123319514" sldId="214748519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796130817" sldId="214748520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068757066" sldId="214748520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998783173" sldId="214748520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953516424" sldId="214748520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474139674" sldId="214748520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212347651" sldId="214748520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065418049" sldId="214748520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187061363" sldId="214748520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007998119" sldId="214748520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496981679" sldId="214748521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517532415" sldId="214748521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55859912" sldId="214748521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197998726" sldId="214748521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11405093" sldId="214748521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436691929" sldId="214748521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731782575" sldId="214748522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30731634" sldId="214748522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46439255" sldId="214748523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034929273" sldId="214748523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089086085" sldId="214748523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302101223" sldId="214748523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492058852" sldId="214748524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082586651" sldId="214748524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790171399" sldId="214748524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741560138" sldId="214748524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486077577" sldId="214748524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346141745" sldId="214748524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711499597" sldId="214748524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73949674" sldId="214748525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190351958" sldId="214748525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745981322" sldId="214748525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895883540" sldId="214748574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456750837" sldId="214748574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081422499" sldId="214748574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433946347" sldId="214748574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469112014" sldId="214748575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233128820" sldId="214748575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843712858" sldId="214748575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577569533" sldId="214748575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625957564" sldId="214748575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582480865" sldId="214748575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432676762" sldId="214748575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230016533" sldId="214748575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148706681" sldId="214748575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046008086" sldId="214748575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150018903" sldId="214748576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693912369" sldId="214748576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324229874" sldId="214748576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981658984" sldId="214748576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670300618" sldId="214748576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452950427" sldId="214748576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139997771" sldId="214748576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360745135" sldId="214748576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254937780" sldId="214748576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990587475" sldId="214748576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197115823" sldId="214748577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035192558" sldId="214748577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960550705" sldId="214748577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156938699" sldId="214748577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78575640" sldId="214748577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241349000" sldId="214748577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959947862" sldId="214748577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803436985" sldId="214748577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801948909" sldId="214748577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562668300" sldId="214748577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288476413" sldId="214748578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454462107" sldId="214748578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289344068" sldId="214748578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422032071" sldId="214748578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488318917" sldId="214748578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995557244" sldId="214748578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650756849" sldId="214748578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685870595" sldId="214748578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749546200" sldId="214748578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194424180" sldId="214748578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932536434" sldId="214748579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402437985" sldId="214748579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135251286" sldId="214748579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191256359" sldId="214748579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718626138" sldId="214748579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91494564" sldId="214748579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229874609" sldId="214748579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662890981" sldId="214748579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643571394" sldId="214748579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503152451" sldId="214748579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10816943" sldId="214748580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327178714" sldId="214748580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142003421" sldId="214748580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930160056" sldId="214748580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401108313" sldId="214748580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6303408" sldId="214748611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996468916" sldId="2147486282"/>
          </pc:sldLayoutMkLst>
        </pc:sldLayoutChg>
        <pc:sldLayoutChg chg="add del">
          <pc:chgData name="Pulkit Sharma" userId="4adc590f-5f7b-4ae1-9619-eecec2ffe104" providerId="ADAL" clId="{146CBB2E-B39F-433D-B9A4-F0EEB83C8675}" dt="2025-06-02T16:25:29.677" v="9" actId="47"/>
          <pc:sldLayoutMkLst>
            <pc:docMk/>
            <pc:sldMasterMk cId="1135730148" sldId="2147485185"/>
            <pc:sldLayoutMk cId="2341360979" sldId="214748628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641878046" sldId="214748669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257131828" sldId="214748669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076148436" sldId="214748669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968808687" sldId="214748669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730071484" sldId="214748669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774613283" sldId="214748670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110893960" sldId="214748670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990783661" sldId="214748670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953910314" sldId="214748670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938057706" sldId="214748670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57800692" sldId="214748671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919079657" sldId="214748671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60884668" sldId="214748671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492432593" sldId="214748671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88296092" sldId="214748671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609434039" sldId="214748671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884409993" sldId="214748671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912218461" sldId="214748671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867575594" sldId="214748672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439349373" sldId="214748672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561349790" sldId="214748672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428625482" sldId="214748673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485666830" sldId="214748673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929936251" sldId="214748674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671968084" sldId="214748674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530257600" sldId="214748674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627178768" sldId="214748674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280139256" sldId="214748676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352100816" sldId="214748676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508223492" sldId="214748676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814806107" sldId="214748677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80468300" sldId="214748677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046480198" sldId="214748677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120309588" sldId="214748677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603953385" sldId="214748677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904528330" sldId="214748677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867173216" sldId="214748677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980127415" sldId="214748677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87438841" sldId="214748677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895465673" sldId="214748677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599130354" sldId="214748678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605907004" sldId="214748678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454767975" sldId="214748678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771573087" sldId="214748678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188390683" sldId="214748678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587574537" sldId="214748678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256630893" sldId="214748678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356704974" sldId="214748678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554420721" sldId="214748678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035074125" sldId="214748678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084362368" sldId="214748679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561864045" sldId="214748679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076333108" sldId="214748679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136714816" sldId="214748679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03271319" sldId="214748679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198171195" sldId="214748679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520644434" sldId="214748679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864543652" sldId="214748728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513126418" sldId="214748728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360427500" sldId="214748728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5675113" sldId="214748728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830573703" sldId="214748728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864673027" sldId="214748728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235907481" sldId="214748729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470454735" sldId="214748729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972867567" sldId="214748729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415773834" sldId="214748729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678145519" sldId="214748729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951278996" sldId="214748729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885637113" sldId="214748729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691929806" sldId="214748729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652408934" sldId="214748729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08710661" sldId="214748729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866990355" sldId="214748730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146958414" sldId="214748730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667628649" sldId="214748730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834028555" sldId="214748730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770454049" sldId="214748730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278932417" sldId="214748730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817831826" sldId="214748730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358370647" sldId="214748730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350763392" sldId="214748730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960342668" sldId="214748730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022290805" sldId="214748731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996771448" sldId="214748731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570117906" sldId="214748731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609706550" sldId="214748731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699180302" sldId="214748731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121986338" sldId="214748731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190583700" sldId="214748731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111266784" sldId="214748731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969548730" sldId="214748731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905393917" sldId="214748731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488108200" sldId="214748732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366729064" sldId="214748732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525218735" sldId="214748732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770662989" sldId="214748732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709132678" sldId="214748732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673802174" sldId="214748732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214281222" sldId="214748732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46453712" sldId="214748732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267395400" sldId="214748732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404602429" sldId="214748732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956448777" sldId="214748733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613351071" sldId="214748733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418059182" sldId="214748733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654860436" sldId="214748733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61164025" sldId="214748733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978278366" sldId="214748733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75985608" sldId="214748733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178984372" sldId="214748733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018616920" sldId="214748733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424005627" sldId="214748733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700077875" sldId="214748734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697287426" sldId="214748734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507946989" sldId="214748734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815976385" sldId="214748734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51736761" sldId="214748734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47588937" sldId="214748734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835010628" sldId="214748734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100605744" sldId="214748734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51142398" sldId="214748734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348868619" sldId="214748734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04845715" sldId="214748735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78075127" sldId="214748735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119690991" sldId="214748735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094519648" sldId="214748735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011084619" sldId="214748735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263247102" sldId="214748735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962619923" sldId="214748735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824491645" sldId="214748735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068691269" sldId="214748735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347479852" sldId="214748735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023609617" sldId="214748736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749792469" sldId="214748736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675658561" sldId="214748736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04075824" sldId="214748736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376012651" sldId="214748736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440383647" sldId="214748736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5800382" sldId="2147487366"/>
          </pc:sldLayoutMkLst>
        </pc:sldLayoutChg>
      </pc:sldMasterChg>
      <pc:sldMasterChg chg="add addSldLayout">
        <pc:chgData name="Pulkit Sharma" userId="4adc590f-5f7b-4ae1-9619-eecec2ffe104" providerId="ADAL" clId="{146CBB2E-B39F-433D-B9A4-F0EEB83C8675}" dt="2025-06-02T16:24:35.996" v="7" actId="27028"/>
        <pc:sldMasterMkLst>
          <pc:docMk/>
          <pc:sldMasterMk cId="3889942957" sldId="2147486477"/>
        </pc:sldMasterMkLst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049738783" sldId="214748647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14736467" sldId="214748647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482251317" sldId="214748648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768982960" sldId="214748648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719206164" sldId="214748648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415203461" sldId="214748648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129166709" sldId="214748648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917824108" sldId="214748648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606920415" sldId="214748648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841460539" sldId="214748648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377323325" sldId="214748648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622334983" sldId="214748648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90611130" sldId="214748649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549476162" sldId="214748649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574750202" sldId="214748649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682781567" sldId="214748649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415219405" sldId="214748649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645945967" sldId="214748649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935582019" sldId="214748649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955273324" sldId="214748649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298585870" sldId="214748649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017686012" sldId="214748649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53150198" sldId="214748650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793394191" sldId="214748650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688795438" sldId="214748650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848760991" sldId="214748650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395774258" sldId="214748650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796168934" sldId="214748650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592135698" sldId="214748650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416610861" sldId="214748650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139902018" sldId="214748650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570676142" sldId="214748650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174246671" sldId="214748651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834408817" sldId="214748651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2359596" sldId="214748651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802155025" sldId="214748651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769081368" sldId="214748651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514272095" sldId="214748651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617530002" sldId="214748651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816610354" sldId="214748651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532360264" sldId="214748651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90706136" sldId="214748651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522987317" sldId="214748652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4118405751" sldId="214748652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965537981" sldId="214748652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775420657" sldId="214748652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277720967" sldId="214748652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628536127" sldId="214748652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68783721" sldId="214748652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903414845" sldId="214748652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408009222" sldId="214748652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057805927" sldId="214748652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534922266" sldId="214748653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536453482" sldId="214748653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983011265" sldId="214748653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946982871" sldId="214748653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580451097" sldId="214748653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17540995" sldId="214748653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911594860" sldId="214748653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848917324" sldId="214748653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596705654" sldId="214748653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78090315" sldId="214748653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53536788" sldId="214748654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158056358" sldId="214748654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902527527" sldId="214748654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841550583" sldId="214748654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671779690" sldId="214748654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87149483" sldId="214748654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066515495" sldId="214748654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4054484305" sldId="214748654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661174131" sldId="214748654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171828476" sldId="214748654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442738826" sldId="214748655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431854006" sldId="214748655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528116184" sldId="214748655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909795763" sldId="214748655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247837583" sldId="214748655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976371567" sldId="214748655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202535435" sldId="214748655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760476609" sldId="214748655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571914322" sldId="214748655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696682063" sldId="214748655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215100703" sldId="214748656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290613098" sldId="214748656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613717399" sldId="214748656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824027292" sldId="214748656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477735196" sldId="214748656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436742064" sldId="214748656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566807322" sldId="214748656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988826544" sldId="214748656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270364002" sldId="214748656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614023386" sldId="214748656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576466761" sldId="214748657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036590047" sldId="214748657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8088929" sldId="214748657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022252753" sldId="214748657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742613722" sldId="214748657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245767482" sldId="214748657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618640470" sldId="214748657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747068605" sldId="214748657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406957449" sldId="214748657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478194278" sldId="214748657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320753472" sldId="214748658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204527052" sldId="214748658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805364232" sldId="214748658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668420944" sldId="214748658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621271819" sldId="214748658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285929364" sldId="214748658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095206704" sldId="214748658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95185922" sldId="214748658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011986965" sldId="214748658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743518456" sldId="214748658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41961435" sldId="214748659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792578405" sldId="214748659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807485826" sldId="214748659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86762026" sldId="214748659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566432175" sldId="214748659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745112568" sldId="214748659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40284586" sldId="214748659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608537653" sldId="214748659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4023864894" sldId="214748659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799466526" sldId="214748659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916236374" sldId="214748660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182458658" sldId="214748660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264636068" sldId="214748660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454095270" sldId="214748660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961744449" sldId="214748660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751136425" sldId="214748660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127660390" sldId="214748660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375002349" sldId="214748660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873990325" sldId="214748660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536331285" sldId="214748660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77247455" sldId="214748661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4093966882" sldId="214748661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235874620" sldId="214748661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032870726" sldId="214748661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411488755" sldId="214748661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4205480088" sldId="214748661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786947476" sldId="214748661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895831815" sldId="214748661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978700316" sldId="214748661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752380639" sldId="214748661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533546627" sldId="214748662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877234497" sldId="214748662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731520991" sldId="214748662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273315428" sldId="214748662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75298749" sldId="214748662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148634107" sldId="214748662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646361429" sldId="214748662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831263082" sldId="214748662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557446818" sldId="214748662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100663092" sldId="214748662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39744826" sldId="214748663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70073450" sldId="214748663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788795088" sldId="214748663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4241619497" sldId="214748663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845895885" sldId="214748663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593751822" sldId="214748663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4287719013" sldId="214748663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0210225" sldId="214748663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469602011" sldId="214748663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453461653" sldId="214748663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400116805" sldId="214748664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073707441" sldId="214748664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918855299" sldId="214748664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523581264" sldId="214748664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4092091337" sldId="214748664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712145561" sldId="214748664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941323734" sldId="214748664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662309946" sldId="214748664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979187957" sldId="214748664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858585362" sldId="214748664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681489004" sldId="214748665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961551280" sldId="214748665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198409073" sldId="214748665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901259717" sldId="214748665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46083652" sldId="214748665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571163555" sldId="214748665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778507478" sldId="214748665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728538886" sldId="214748665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565199340" sldId="214748665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239504038" sldId="214748665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128144359" sldId="214748666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561271101" sldId="214748666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4120950392" sldId="214748666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144248183" sldId="214748666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631981019" sldId="214748666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713814838" sldId="214748666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290114295" sldId="214748666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263031067" sldId="214748666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811967843" sldId="214748666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746393662" sldId="214748666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389974412" sldId="214748667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951860571" sldId="214748667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945425130" sldId="214748667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010120907" sldId="214748667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213741088" sldId="214748667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321318053" sldId="214748667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406175067" sldId="214748667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120273597" sldId="214748667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447908515" sldId="214748667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697290648" sldId="214748667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47161976" sldId="214748668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00332563" sldId="214748668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579977681" sldId="214748668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553709394" sldId="214748668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176318847" sldId="214748668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596944823" sldId="214748668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131794800" sldId="214748668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440487521" sldId="214748668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594661728" sldId="214748668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369458186" sldId="214748668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4277349688" sldId="214748669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769135499" sldId="2147486691"/>
          </pc:sldLayoutMkLst>
        </pc:sldLayoutChg>
      </pc:sldMasterChg>
      <pc:sldMasterChg chg="add addSldLayout">
        <pc:chgData name="Pulkit Sharma" userId="4adc590f-5f7b-4ae1-9619-eecec2ffe104" providerId="ADAL" clId="{146CBB2E-B39F-433D-B9A4-F0EEB83C8675}" dt="2025-06-02T16:24:35.996" v="7" actId="27028"/>
        <pc:sldMasterMkLst>
          <pc:docMk/>
          <pc:sldMasterMk cId="1372318210" sldId="2147486851"/>
        </pc:sldMasterMkLst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96677553" sldId="214748685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733838838" sldId="214748685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372745844" sldId="214748685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912447395" sldId="214748685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462939137" sldId="214748685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059341847" sldId="214748685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649260272" sldId="214748685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519153842" sldId="214748685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735328510" sldId="214748686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798351252" sldId="214748686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596294698" sldId="214748686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900882435" sldId="214748686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087744998" sldId="214748686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404103415" sldId="214748686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656840076" sldId="214748686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167916833" sldId="214748686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870093950" sldId="214748686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4118343978" sldId="214748686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808651710" sldId="214748687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478903734" sldId="214748687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582630542" sldId="214748687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467492356" sldId="214748687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022578612" sldId="214748687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771172381" sldId="214748687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392661768" sldId="214748687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058218818" sldId="214748687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755449536" sldId="214748687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760581606" sldId="214748687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372740515" sldId="214748688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888167232" sldId="214748688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189750615" sldId="214748688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748606521" sldId="214748688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820364587" sldId="214748688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939270529" sldId="214748688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68913227" sldId="214748688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889102961" sldId="214748688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26311756" sldId="214748688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254020744" sldId="214748688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743913709" sldId="214748689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815295472" sldId="214748689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390751065" sldId="214748689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997597307" sldId="214748689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417227928" sldId="214748689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4081115989" sldId="214748689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455274462" sldId="214748689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170135881" sldId="214748689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421621087" sldId="214748689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446035186" sldId="214748689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911674065" sldId="214748690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247201423" sldId="214748690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078648013" sldId="214748690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504250007" sldId="214748690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62837543" sldId="214748690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496523366" sldId="214748690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901030685" sldId="214748690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076511022" sldId="214748690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314248945" sldId="214748690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330690789" sldId="214748690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448519547" sldId="214748691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882073472" sldId="214748691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05938602" sldId="214748691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4153177626" sldId="214748691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889987621" sldId="214748691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15776453" sldId="214748691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737354551" sldId="214748691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021745315" sldId="214748691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055775029" sldId="214748691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188322159" sldId="214748691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943053772" sldId="214748692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148600742" sldId="214748692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768876819" sldId="214748692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059671191" sldId="214748692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77088352" sldId="214748692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788097738" sldId="214748692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626768173" sldId="214748692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588009887" sldId="214748692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96377777" sldId="214748692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791756442" sldId="214748692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651157164" sldId="214748693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636373537" sldId="214748693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577924163" sldId="214748693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253053126" sldId="214748693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858756990" sldId="214748693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645958999" sldId="214748693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751483582" sldId="214748693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113909469" sldId="214748693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974693061" sldId="214748693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853190119" sldId="214748693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451560180" sldId="214748694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693904254" sldId="214748694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288657167" sldId="214748694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917572245" sldId="214748694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118501372" sldId="214748694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908644" sldId="214748694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247405561" sldId="214748694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706117887" sldId="214748694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077936643" sldId="214748694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447984741" sldId="214748694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291443906" sldId="214748695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152080111" sldId="214748695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297555018" sldId="214748695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113777707" sldId="214748695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387709311" sldId="214748695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674524292" sldId="214748695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577807272" sldId="214748695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352739612" sldId="214748695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644406481" sldId="214748695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262654627" sldId="214748695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97002000" sldId="214748696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496317226" sldId="214748696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711677356" sldId="214748696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731447096" sldId="214748696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933692086" sldId="214748696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723755487" sldId="214748696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28307367" sldId="214748696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025185703" sldId="214748696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70690420" sldId="214748696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4122780552" sldId="214748696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84312529" sldId="214748697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970323471" sldId="214748697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494932277" sldId="214748697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775188630" sldId="214748697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689855991" sldId="214748697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364847567" sldId="214748697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458734530" sldId="214748697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980635765" sldId="214748697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4152184947" sldId="214748697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422869165" sldId="214748697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866729904" sldId="214748698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648027015" sldId="214748698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434648866" sldId="214748698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748014824" sldId="214748698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4189158408" sldId="214748698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147844698" sldId="214748698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913325349" sldId="214748698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956581467" sldId="214748698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46821990" sldId="214748698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460721834" sldId="214748698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697239653" sldId="214748699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482632383" sldId="214748699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12348098" sldId="214748699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178710743" sldId="214748699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239712929" sldId="214748699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97872270" sldId="214748699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974869822" sldId="214748699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776327577" sldId="214748699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959763436" sldId="214748699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651513719" sldId="214748699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876596768" sldId="214748700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414760958" sldId="214748700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4023889853" sldId="214748700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424052403" sldId="214748700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799075024" sldId="214748700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023907139" sldId="214748700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631902329" sldId="214748700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587416328" sldId="214748700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542752407" sldId="214748700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625276160" sldId="214748700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23520903" sldId="214748701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759134731" sldId="214748701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299263318" sldId="214748701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998248545" sldId="214748701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193046679" sldId="214748701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706166253" sldId="214748701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496801565" sldId="214748701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865465841" sldId="214748701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463722605" sldId="214748701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616244976" sldId="214748701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782907879" sldId="214748702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158053514" sldId="214748702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956563563" sldId="214748702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442425815" sldId="214748702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57700147" sldId="214748702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079772171" sldId="214748702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105257090" sldId="2147487026"/>
          </pc:sldLayoutMkLst>
        </pc:sldLayoutChg>
      </pc:sldMasterChg>
      <pc:sldMasterChg chg="add addSldLayout">
        <pc:chgData name="Pulkit Sharma" userId="4adc590f-5f7b-4ae1-9619-eecec2ffe104" providerId="ADAL" clId="{146CBB2E-B39F-433D-B9A4-F0EEB83C8675}" dt="2025-06-02T16:24:35.996" v="7" actId="27028"/>
        <pc:sldMasterMkLst>
          <pc:docMk/>
          <pc:sldMasterMk cId="3617023491" sldId="2147487027"/>
        </pc:sldMasterMkLst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004202352" sldId="214748702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874474030" sldId="214748702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219896710" sldId="214748703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653672698" sldId="214748703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441317777" sldId="214748703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414778513" sldId="214748703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841683369" sldId="214748703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644579591" sldId="214748703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609025013" sldId="214748703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642149645" sldId="214748703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858077168" sldId="214748703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263358472" sldId="214748703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96612917" sldId="214748704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758480665" sldId="214748704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681411281" sldId="214748704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148507416" sldId="214748704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722657537" sldId="214748704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216872387" sldId="214748704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542694492" sldId="214748704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606032389" sldId="214748704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263996884" sldId="214748704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555982822" sldId="214748704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524113189" sldId="214748705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010999448" sldId="214748705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30504625" sldId="214748705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4084439762" sldId="214748705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743328359" sldId="214748705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67838893" sldId="214748705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172711722" sldId="214748705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231677662" sldId="214748705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851420163" sldId="214748705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227055764" sldId="214748705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134704800" sldId="214748706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31391564" sldId="214748706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32986276" sldId="214748706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400806011" sldId="214748706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680580449" sldId="214748706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292564457" sldId="214748706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487036958" sldId="214748706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910101617" sldId="214748706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326394808" sldId="214748706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910133043" sldId="214748706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766524535" sldId="214748707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832257046" sldId="214748707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133089925" sldId="214748707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644987497" sldId="214748707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438881804" sldId="214748707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4060030505" sldId="214748707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4067804133" sldId="214748707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601499456" sldId="214748707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865049904" sldId="214748707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353241507" sldId="214748707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898640950" sldId="214748708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057770329" sldId="214748708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921889107" sldId="214748708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922119389" sldId="214748708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417757061" sldId="214748708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843140872" sldId="214748708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241339314" sldId="214748708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316805802" sldId="214748708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728566827" sldId="214748708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441063941" sldId="214748708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136266782" sldId="214748709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126165361" sldId="214748709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320545689" sldId="214748709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195591212" sldId="214748709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776228154" sldId="214748709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194876457" sldId="214748709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414900076" sldId="214748709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343038210" sldId="214748709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135088144" sldId="214748709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312391945" sldId="214748709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751786774" sldId="214748710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437317196" sldId="214748710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581130951" sldId="214748710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285152854" sldId="214748710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066682199" sldId="214748710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836154564" sldId="214748710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4033208803" sldId="214748710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228979771" sldId="214748710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140356555" sldId="214748710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512795284" sldId="214748710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999569765" sldId="214748711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398335279" sldId="214748711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401105071" sldId="214748711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470231546" sldId="214748711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4177060252" sldId="214748711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911169976" sldId="214748711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840697024" sldId="214748711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384426685" sldId="214748711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100506810" sldId="214748711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570652931" sldId="214748711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548341290" sldId="214748712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858140256" sldId="214748712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557101671" sldId="214748712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848647931" sldId="214748712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591670333" sldId="214748712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799494478" sldId="214748712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027022400" sldId="214748712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71169873" sldId="214748712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275361587" sldId="214748712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975595605" sldId="214748712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959941907" sldId="214748713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106344943" sldId="214748713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423416877" sldId="214748713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304791279" sldId="214748713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273561422" sldId="214748713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908365808" sldId="214748713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941409787" sldId="214748713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167897106" sldId="214748713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660798570" sldId="214748713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025756553" sldId="214748713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4284619811" sldId="214748714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345654037" sldId="214748714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21341230" sldId="214748714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72100344" sldId="214748714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170945572" sldId="214748714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536226151" sldId="214748714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45380731" sldId="214748714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891283608" sldId="214748714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585361363" sldId="214748714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908266874" sldId="214748714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410924077" sldId="214748715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4005219180" sldId="214748715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319903823" sldId="214748715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292319341" sldId="214748715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406302525" sldId="214748715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047316454" sldId="214748715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656029315" sldId="214748715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225930161" sldId="214748715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705656082" sldId="214748715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155242640" sldId="214748715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107301230" sldId="214748716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687481552" sldId="214748716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453724801" sldId="214748716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647806503" sldId="214748716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932066879" sldId="214748716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057334502" sldId="214748716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11503377" sldId="214748716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772808505" sldId="214748716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830818955" sldId="214748716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806437212" sldId="214748716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962939949" sldId="214748717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118298206" sldId="214748717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607385685" sldId="214748717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394316468" sldId="214748717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275817391" sldId="214748717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81170300" sldId="214748717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4000457660" sldId="214748717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996651700" sldId="2147487177"/>
          </pc:sldLayoutMkLst>
        </pc:sldLayoutChg>
      </pc:sldMasterChg>
      <pc:sldMasterChg chg="add addSldLayout">
        <pc:chgData name="Pulkit Sharma" userId="4adc590f-5f7b-4ae1-9619-eecec2ffe104" providerId="ADAL" clId="{146CBB2E-B39F-433D-B9A4-F0EEB83C8675}" dt="2025-06-02T16:25:31.943" v="18" actId="27028"/>
        <pc:sldMasterMkLst>
          <pc:docMk/>
          <pc:sldMasterMk cId="1135730148" sldId="2147487359"/>
        </pc:sldMasterMkLst>
        <pc:sldLayoutChg chg="add">
          <pc:chgData name="Pulkit Sharma" userId="4adc590f-5f7b-4ae1-9619-eecec2ffe104" providerId="ADAL" clId="{146CBB2E-B39F-433D-B9A4-F0EEB83C8675}" dt="2025-06-02T16:25:31.410" v="12" actId="27028"/>
          <pc:sldLayoutMkLst>
            <pc:docMk/>
            <pc:sldMasterMk cId="1135730148" sldId="2147487359"/>
            <pc:sldLayoutMk cId="1612383377" sldId="2147485215"/>
          </pc:sldLayoutMkLst>
        </pc:sldLayoutChg>
        <pc:sldLayoutChg chg="add">
          <pc:chgData name="Pulkit Sharma" userId="4adc590f-5f7b-4ae1-9619-eecec2ffe104" providerId="ADAL" clId="{146CBB2E-B39F-433D-B9A4-F0EEB83C8675}" dt="2025-06-02T16:25:31.243" v="10" actId="27028"/>
          <pc:sldLayoutMkLst>
            <pc:docMk/>
            <pc:sldMasterMk cId="1135730148" sldId="2147487359"/>
            <pc:sldLayoutMk cId="2872077894" sldId="2147487360"/>
          </pc:sldLayoutMkLst>
        </pc:sldLayoutChg>
        <pc:sldLayoutChg chg="add">
          <pc:chgData name="Pulkit Sharma" userId="4adc590f-5f7b-4ae1-9619-eecec2ffe104" providerId="ADAL" clId="{146CBB2E-B39F-433D-B9A4-F0EEB83C8675}" dt="2025-06-02T16:25:31.943" v="18" actId="27028"/>
          <pc:sldLayoutMkLst>
            <pc:docMk/>
            <pc:sldMasterMk cId="1135730148" sldId="2147487359"/>
            <pc:sldLayoutMk cId="517532415" sldId="2147487361"/>
          </pc:sldLayoutMkLst>
        </pc:sldLayoutChg>
      </pc:sldMasterChg>
    </pc:docChg>
  </pc:docChgLst>
  <pc:docChgLst>
    <pc:chgData name="Sarthak Patnaik" userId="fc667910-885e-4c86-94ba-eb177ee53751" providerId="ADAL" clId="{6B2F23E0-CE1D-43DC-9969-C572FD1B279A}"/>
    <pc:docChg chg="undo custSel modSld">
      <pc:chgData name="Sarthak Patnaik" userId="fc667910-885e-4c86-94ba-eb177ee53751" providerId="ADAL" clId="{6B2F23E0-CE1D-43DC-9969-C572FD1B279A}" dt="2025-06-03T09:56:48.612" v="600" actId="207"/>
      <pc:docMkLst>
        <pc:docMk/>
      </pc:docMkLst>
      <pc:sldChg chg="addSp delSp modSp mod">
        <pc:chgData name="Sarthak Patnaik" userId="fc667910-885e-4c86-94ba-eb177ee53751" providerId="ADAL" clId="{6B2F23E0-CE1D-43DC-9969-C572FD1B279A}" dt="2025-06-03T09:56:48.612" v="600" actId="207"/>
        <pc:sldMkLst>
          <pc:docMk/>
          <pc:sldMk cId="1067858966" sldId="270"/>
        </pc:sldMkLst>
        <pc:spChg chg="add mod">
          <ac:chgData name="Sarthak Patnaik" userId="fc667910-885e-4c86-94ba-eb177ee53751" providerId="ADAL" clId="{6B2F23E0-CE1D-43DC-9969-C572FD1B279A}" dt="2025-06-03T09:56:48.612" v="600" actId="207"/>
          <ac:spMkLst>
            <pc:docMk/>
            <pc:sldMk cId="1067858966" sldId="270"/>
            <ac:spMk id="38" creationId="{55BF47DC-0706-99A0-E288-CC80BBE446EE}"/>
          </ac:spMkLst>
        </pc:spChg>
        <pc:spChg chg="mod">
          <ac:chgData name="Sarthak Patnaik" userId="fc667910-885e-4c86-94ba-eb177ee53751" providerId="ADAL" clId="{6B2F23E0-CE1D-43DC-9969-C572FD1B279A}" dt="2025-06-03T09:51:56.654" v="469" actId="20577"/>
          <ac:spMkLst>
            <pc:docMk/>
            <pc:sldMk cId="1067858966" sldId="270"/>
            <ac:spMk id="41" creationId="{4DAF1979-0901-F41E-04CF-F20F7DE5CDAD}"/>
          </ac:spMkLst>
        </pc:spChg>
        <pc:graphicFrameChg chg="mod modGraphic">
          <ac:chgData name="Sarthak Patnaik" userId="fc667910-885e-4c86-94ba-eb177ee53751" providerId="ADAL" clId="{6B2F23E0-CE1D-43DC-9969-C572FD1B279A}" dt="2025-06-03T09:46:51.557" v="128" actId="20577"/>
          <ac:graphicFrameMkLst>
            <pc:docMk/>
            <pc:sldMk cId="1067858966" sldId="270"/>
            <ac:graphicFrameMk id="42" creationId="{D1E2FBDB-FF10-C853-E0BD-68CC5C24800E}"/>
          </ac:graphicFrameMkLst>
        </pc:graphicFrameChg>
        <pc:picChg chg="add mod">
          <ac:chgData name="Sarthak Patnaik" userId="fc667910-885e-4c86-94ba-eb177ee53751" providerId="ADAL" clId="{6B2F23E0-CE1D-43DC-9969-C572FD1B279A}" dt="2025-06-03T09:36:46.728" v="15" actId="14100"/>
          <ac:picMkLst>
            <pc:docMk/>
            <pc:sldMk cId="1067858966" sldId="270"/>
            <ac:picMk id="5" creationId="{81A45665-DAF9-EB29-6D02-E77CCCFF4831}"/>
          </ac:picMkLst>
        </pc:picChg>
        <pc:picChg chg="add mod">
          <ac:chgData name="Sarthak Patnaik" userId="fc667910-885e-4c86-94ba-eb177ee53751" providerId="ADAL" clId="{6B2F23E0-CE1D-43DC-9969-C572FD1B279A}" dt="2025-06-03T09:37:01.215" v="20" actId="1076"/>
          <ac:picMkLst>
            <pc:docMk/>
            <pc:sldMk cId="1067858966" sldId="270"/>
            <ac:picMk id="6" creationId="{33ABC20E-0B85-316C-EA6C-D9C8B457664A}"/>
          </ac:picMkLst>
        </pc:picChg>
        <pc:picChg chg="add mod">
          <ac:chgData name="Sarthak Patnaik" userId="fc667910-885e-4c86-94ba-eb177ee53751" providerId="ADAL" clId="{6B2F23E0-CE1D-43DC-9969-C572FD1B279A}" dt="2025-06-03T09:37:28.648" v="25" actId="1076"/>
          <ac:picMkLst>
            <pc:docMk/>
            <pc:sldMk cId="1067858966" sldId="270"/>
            <ac:picMk id="7" creationId="{32C2C3CE-1A99-2EFC-FAD2-FA6925B49168}"/>
          </ac:picMkLst>
        </pc:picChg>
        <pc:picChg chg="add mod">
          <ac:chgData name="Sarthak Patnaik" userId="fc667910-885e-4c86-94ba-eb177ee53751" providerId="ADAL" clId="{6B2F23E0-CE1D-43DC-9969-C572FD1B279A}" dt="2025-06-03T09:43:19.182" v="50" actId="14100"/>
          <ac:picMkLst>
            <pc:docMk/>
            <pc:sldMk cId="1067858966" sldId="270"/>
            <ac:picMk id="10" creationId="{5DA5090E-73F7-C72D-0F3F-B4212FC16813}"/>
          </ac:picMkLst>
        </pc:picChg>
        <pc:picChg chg="add mod">
          <ac:chgData name="Sarthak Patnaik" userId="fc667910-885e-4c86-94ba-eb177ee53751" providerId="ADAL" clId="{6B2F23E0-CE1D-43DC-9969-C572FD1B279A}" dt="2025-06-03T09:43:26.424" v="53" actId="1076"/>
          <ac:picMkLst>
            <pc:docMk/>
            <pc:sldMk cId="1067858966" sldId="270"/>
            <ac:picMk id="16" creationId="{1C7D7F2A-B02E-69A3-345E-D8034BBB824F}"/>
          </ac:picMkLst>
        </pc:picChg>
        <pc:picChg chg="add mod">
          <ac:chgData name="Sarthak Patnaik" userId="fc667910-885e-4c86-94ba-eb177ee53751" providerId="ADAL" clId="{6B2F23E0-CE1D-43DC-9969-C572FD1B279A}" dt="2025-06-03T09:46:33.923" v="122" actId="1076"/>
          <ac:picMkLst>
            <pc:docMk/>
            <pc:sldMk cId="1067858966" sldId="270"/>
            <ac:picMk id="35" creationId="{3A928128-8A5D-3178-2677-25605CD7CAEB}"/>
          </ac:picMkLst>
        </pc:picChg>
        <pc:picChg chg="add mod">
          <ac:chgData name="Sarthak Patnaik" userId="fc667910-885e-4c86-94ba-eb177ee53751" providerId="ADAL" clId="{6B2F23E0-CE1D-43DC-9969-C572FD1B279A}" dt="2025-06-03T09:44:45.360" v="63" actId="1076"/>
          <ac:picMkLst>
            <pc:docMk/>
            <pc:sldMk cId="1067858966" sldId="270"/>
            <ac:picMk id="37" creationId="{5DE8923F-5E64-03B8-9AB1-4071D11139A9}"/>
          </ac:picMkLst>
        </pc:picChg>
        <pc:picChg chg="add mod">
          <ac:chgData name="Sarthak Patnaik" userId="fc667910-885e-4c86-94ba-eb177ee53751" providerId="ADAL" clId="{6B2F23E0-CE1D-43DC-9969-C572FD1B279A}" dt="2025-06-03T09:38:21.968" v="36" actId="1076"/>
          <ac:picMkLst>
            <pc:docMk/>
            <pc:sldMk cId="1067858966" sldId="270"/>
            <ac:picMk id="1028" creationId="{3FB075F6-FA9C-C436-5F19-5295324497B7}"/>
          </ac:picMkLst>
        </pc:picChg>
        <pc:picChg chg="add mod">
          <ac:chgData name="Sarthak Patnaik" userId="fc667910-885e-4c86-94ba-eb177ee53751" providerId="ADAL" clId="{6B2F23E0-CE1D-43DC-9969-C572FD1B279A}" dt="2025-06-03T09:43:05.395" v="45" actId="1076"/>
          <ac:picMkLst>
            <pc:docMk/>
            <pc:sldMk cId="1067858966" sldId="270"/>
            <ac:picMk id="1030" creationId="{EB5718FA-AA0E-44BF-8712-38D9CF13A12B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FFE9EC-27FE-4D26-A65F-0F8020BA2A86}" type="datetimeFigureOut">
              <a:rPr lang="en-IN" smtClean="0"/>
              <a:t>07/06/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51835F-B353-4AF3-8EFD-1A3E6AE1352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177193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7.xml"/><Relationship Id="rId4" Type="http://schemas.openxmlformats.org/officeDocument/2006/relationships/image" Target="../media/image17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6" Type="http://schemas.openxmlformats.org/officeDocument/2006/relationships/image" Target="../media/image1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0.xml"/><Relationship Id="rId4" Type="http://schemas.openxmlformats.org/officeDocument/2006/relationships/image" Target="../media/image17.png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3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4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0.bin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6" Type="http://schemas.openxmlformats.org/officeDocument/2006/relationships/image" Target="../media/image1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5.jpeg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image" Target="../media/image1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7.xml"/><Relationship Id="rId4" Type="http://schemas.openxmlformats.org/officeDocument/2006/relationships/image" Target="../media/image17.pn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1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2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3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image" Target="../media/image1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7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image" Target="../media/image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8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5.jpeg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9.xml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72.xml"/><Relationship Id="rId7" Type="http://schemas.openxmlformats.org/officeDocument/2006/relationships/image" Target="../media/image2.png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3.xml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image" Target="../media/image8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0.bin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image" Target="../media/image1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7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8.xml"/><Relationship Id="rId4" Type="http://schemas.openxmlformats.org/officeDocument/2006/relationships/image" Target="../media/image17.pn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6" Type="http://schemas.openxmlformats.org/officeDocument/2006/relationships/image" Target="../media/image1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8.bin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6" Type="http://schemas.openxmlformats.org/officeDocument/2006/relationships/image" Target="../media/image1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image" Target="../media/image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9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5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6.xml"/><Relationship Id="rId4" Type="http://schemas.openxmlformats.org/officeDocument/2006/relationships/image" Target="../media/image17.pn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7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8.xml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6" Type="http://schemas.openxmlformats.org/officeDocument/2006/relationships/image" Target="../media/image1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0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1.xml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94.xml"/><Relationship Id="rId7" Type="http://schemas.openxmlformats.org/officeDocument/2006/relationships/image" Target="../media/image4.png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7" Type="http://schemas.openxmlformats.org/officeDocument/2006/relationships/image" Target="../media/image17.png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2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1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1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6" Type="http://schemas.openxmlformats.org/officeDocument/2006/relationships/image" Target="../media/image2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4.bin"/></Relationships>
</file>

<file path=ppt/slideLayouts/_rels/slideLayout1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215.xml"/><Relationship Id="rId7" Type="http://schemas.openxmlformats.org/officeDocument/2006/relationships/image" Target="../media/image4.png"/><Relationship Id="rId2" Type="http://schemas.openxmlformats.org/officeDocument/2006/relationships/tags" Target="../tags/tag214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6.xml"/><Relationship Id="rId4" Type="http://schemas.openxmlformats.org/officeDocument/2006/relationships/image" Target="../media/image6.emf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8.xml"/><Relationship Id="rId1" Type="http://schemas.openxmlformats.org/officeDocument/2006/relationships/tags" Target="../tags/tag217.xml"/><Relationship Id="rId6" Type="http://schemas.openxmlformats.org/officeDocument/2006/relationships/image" Target="../media/image1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1.xml"/><Relationship Id="rId4" Type="http://schemas.openxmlformats.org/officeDocument/2006/relationships/image" Target="../media/image17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6" Type="http://schemas.openxmlformats.org/officeDocument/2006/relationships/image" Target="../media/image1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1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6.xml"/><Relationship Id="rId6" Type="http://schemas.openxmlformats.org/officeDocument/2006/relationships/image" Target="../media/image2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7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8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1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30.xml"/><Relationship Id="rId1" Type="http://schemas.openxmlformats.org/officeDocument/2006/relationships/tags" Target="../tags/tag229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0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Layouts/_rels/slideLayout1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1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6" Type="http://schemas.openxmlformats.org/officeDocument/2006/relationships/image" Target="../media/image1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1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1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40.xml"/><Relationship Id="rId1" Type="http://schemas.openxmlformats.org/officeDocument/2006/relationships/tags" Target="../tags/tag239.xml"/><Relationship Id="rId6" Type="http://schemas.openxmlformats.org/officeDocument/2006/relationships/image" Target="../media/image1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1.xml"/><Relationship Id="rId4" Type="http://schemas.openxmlformats.org/officeDocument/2006/relationships/image" Target="../media/image17.png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1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6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7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8.xml"/><Relationship Id="rId6" Type="http://schemas.openxmlformats.org/officeDocument/2006/relationships/image" Target="../media/image2.png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9.xml"/><Relationship Id="rId6" Type="http://schemas.openxmlformats.org/officeDocument/2006/relationships/image" Target="../media/image4.png"/><Relationship Id="rId5" Type="http://schemas.openxmlformats.org/officeDocument/2006/relationships/image" Target="../media/image13.png"/><Relationship Id="rId4" Type="http://schemas.openxmlformats.org/officeDocument/2006/relationships/image" Target="../media/image6.emf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6" Type="http://schemas.openxmlformats.org/officeDocument/2006/relationships/image" Target="../media/image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8.bin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2.xml"/><Relationship Id="rId5" Type="http://schemas.openxmlformats.org/officeDocument/2006/relationships/image" Target="../media/image4.png"/><Relationship Id="rId4" Type="http://schemas.openxmlformats.org/officeDocument/2006/relationships/image" Target="../media/image6.emf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3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4.xml"/><Relationship Id="rId4" Type="http://schemas.openxmlformats.org/officeDocument/2006/relationships/image" Target="../media/image6.emf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5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6.xml"/><Relationship Id="rId4" Type="http://schemas.openxmlformats.org/officeDocument/2006/relationships/image" Target="../media/image6.emf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7.xml"/><Relationship Id="rId6" Type="http://schemas.openxmlformats.org/officeDocument/2006/relationships/image" Target="../media/image2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8.xml"/><Relationship Id="rId6" Type="http://schemas.openxmlformats.org/officeDocument/2006/relationships/image" Target="../media/image2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9.xml"/><Relationship Id="rId6" Type="http://schemas.openxmlformats.org/officeDocument/2006/relationships/image" Target="../media/image2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0.xml"/><Relationship Id="rId6" Type="http://schemas.openxmlformats.org/officeDocument/2006/relationships/image" Target="../media/image4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1.xml"/><Relationship Id="rId6" Type="http://schemas.openxmlformats.org/officeDocument/2006/relationships/image" Target="../media/image4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2.xml"/><Relationship Id="rId6" Type="http://schemas.openxmlformats.org/officeDocument/2006/relationships/image" Target="../media/image4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3.xml"/><Relationship Id="rId6" Type="http://schemas.openxmlformats.org/officeDocument/2006/relationships/image" Target="../media/image2.png"/><Relationship Id="rId5" Type="http://schemas.openxmlformats.org/officeDocument/2006/relationships/image" Target="../media/image8.png"/><Relationship Id="rId4" Type="http://schemas.openxmlformats.org/officeDocument/2006/relationships/image" Target="../media/image10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4.xml"/><Relationship Id="rId6" Type="http://schemas.openxmlformats.org/officeDocument/2006/relationships/image" Target="../media/image4.png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5.xml"/><Relationship Id="rId6" Type="http://schemas.openxmlformats.org/officeDocument/2006/relationships/image" Target="../media/image2.png"/><Relationship Id="rId5" Type="http://schemas.openxmlformats.org/officeDocument/2006/relationships/image" Target="../media/image11.png"/><Relationship Id="rId4" Type="http://schemas.openxmlformats.org/officeDocument/2006/relationships/image" Target="../media/image6.emf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6.xml"/><Relationship Id="rId6" Type="http://schemas.openxmlformats.org/officeDocument/2006/relationships/image" Target="../media/image4.png"/><Relationship Id="rId5" Type="http://schemas.openxmlformats.org/officeDocument/2006/relationships/image" Target="../media/image12.png"/><Relationship Id="rId4" Type="http://schemas.openxmlformats.org/officeDocument/2006/relationships/image" Target="../media/image6.emf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7.xml"/><Relationship Id="rId6" Type="http://schemas.openxmlformats.org/officeDocument/2006/relationships/image" Target="../media/image2.png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8.xml"/><Relationship Id="rId6" Type="http://schemas.openxmlformats.org/officeDocument/2006/relationships/image" Target="../media/image4.png"/><Relationship Id="rId5" Type="http://schemas.openxmlformats.org/officeDocument/2006/relationships/image" Target="../media/image13.png"/><Relationship Id="rId4" Type="http://schemas.openxmlformats.org/officeDocument/2006/relationships/image" Target="../media/image6.emf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9.xml"/><Relationship Id="rId6" Type="http://schemas.openxmlformats.org/officeDocument/2006/relationships/image" Target="../media/image2.png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0.xml"/><Relationship Id="rId6" Type="http://schemas.openxmlformats.org/officeDocument/2006/relationships/image" Target="../media/image4.png"/><Relationship Id="rId5" Type="http://schemas.openxmlformats.org/officeDocument/2006/relationships/image" Target="../media/image13.png"/><Relationship Id="rId4" Type="http://schemas.openxmlformats.org/officeDocument/2006/relationships/image" Target="../media/image6.emf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1.xml"/><Relationship Id="rId4" Type="http://schemas.openxmlformats.org/officeDocument/2006/relationships/image" Target="../media/image6.emf"/></Relationships>
</file>

<file path=ppt/slideLayouts/_rels/slideLayout1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73.xml"/><Relationship Id="rId1" Type="http://schemas.openxmlformats.org/officeDocument/2006/relationships/tags" Target="../tags/tag272.xml"/><Relationship Id="rId6" Type="http://schemas.openxmlformats.org/officeDocument/2006/relationships/image" Target="../media/image8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5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0.bin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4.xml"/><Relationship Id="rId6" Type="http://schemas.openxmlformats.org/officeDocument/2006/relationships/image" Target="../media/image4.png"/><Relationship Id="rId5" Type="http://schemas.openxmlformats.org/officeDocument/2006/relationships/image" Target="../media/image12.png"/><Relationship Id="rId4" Type="http://schemas.openxmlformats.org/officeDocument/2006/relationships/image" Target="../media/image6.emf"/></Relationships>
</file>

<file path=ppt/slideLayouts/_rels/slideLayout2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76.xml"/><Relationship Id="rId1" Type="http://schemas.openxmlformats.org/officeDocument/2006/relationships/tags" Target="../tags/tag275.xml"/><Relationship Id="rId6" Type="http://schemas.openxmlformats.org/officeDocument/2006/relationships/image" Target="../media/image1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7.bin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7.xml"/><Relationship Id="rId4" Type="http://schemas.openxmlformats.org/officeDocument/2006/relationships/image" Target="../media/image17.png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9.xml"/><Relationship Id="rId1" Type="http://schemas.openxmlformats.org/officeDocument/2006/relationships/tags" Target="../tags/tag278.xml"/><Relationship Id="rId6" Type="http://schemas.openxmlformats.org/officeDocument/2006/relationships/image" Target="../media/image1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8.bin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281.xml"/><Relationship Id="rId1" Type="http://schemas.openxmlformats.org/officeDocument/2006/relationships/tags" Target="../tags/tag280.xml"/><Relationship Id="rId6" Type="http://schemas.openxmlformats.org/officeDocument/2006/relationships/image" Target="../media/image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9.bin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2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3.xml"/><Relationship Id="rId4" Type="http://schemas.openxmlformats.org/officeDocument/2006/relationships/image" Target="../media/image17.png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4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5.xml"/></Relationships>
</file>

<file path=ppt/slideLayouts/_rels/slideLayout2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288.xml"/><Relationship Id="rId7" Type="http://schemas.openxmlformats.org/officeDocument/2006/relationships/image" Target="../media/image4.png"/><Relationship Id="rId2" Type="http://schemas.openxmlformats.org/officeDocument/2006/relationships/tags" Target="../tags/tag287.xml"/><Relationship Id="rId1" Type="http://schemas.openxmlformats.org/officeDocument/2006/relationships/tags" Target="../tags/tag28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292.xml"/><Relationship Id="rId1" Type="http://schemas.openxmlformats.org/officeDocument/2006/relationships/tags" Target="../tags/tag291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2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94.xml"/><Relationship Id="rId1" Type="http://schemas.openxmlformats.org/officeDocument/2006/relationships/tags" Target="../tags/tag293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tags" Target="../tags/tag297.xml"/><Relationship Id="rId7" Type="http://schemas.openxmlformats.org/officeDocument/2006/relationships/image" Target="../media/image17.png"/><Relationship Id="rId2" Type="http://schemas.openxmlformats.org/officeDocument/2006/relationships/tags" Target="../tags/tag296.xml"/><Relationship Id="rId1" Type="http://schemas.openxmlformats.org/officeDocument/2006/relationships/tags" Target="../tags/tag29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1.xml"/><Relationship Id="rId1" Type="http://schemas.openxmlformats.org/officeDocument/2006/relationships/tags" Target="../tags/tag300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2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03.xml"/><Relationship Id="rId1" Type="http://schemas.openxmlformats.org/officeDocument/2006/relationships/tags" Target="../tags/tag302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2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307.xml"/><Relationship Id="rId1" Type="http://schemas.openxmlformats.org/officeDocument/2006/relationships/tags" Target="../tags/tag306.xml"/><Relationship Id="rId6" Type="http://schemas.openxmlformats.org/officeDocument/2006/relationships/image" Target="../media/image2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4.bin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0.xml"/><Relationship Id="rId1" Type="http://schemas.openxmlformats.org/officeDocument/2006/relationships/tags" Target="../tags/tag309.xml"/><Relationship Id="rId6" Type="http://schemas.openxmlformats.org/officeDocument/2006/relationships/image" Target="../media/image1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8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2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312.xml"/><Relationship Id="rId7" Type="http://schemas.openxmlformats.org/officeDocument/2006/relationships/image" Target="../media/image19.png"/><Relationship Id="rId2" Type="http://schemas.openxmlformats.org/officeDocument/2006/relationships/tags" Target="../tags/tag311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2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3.xml"/><Relationship Id="rId4" Type="http://schemas.openxmlformats.org/officeDocument/2006/relationships/image" Target="../media/image6.emf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5.xml"/><Relationship Id="rId1" Type="http://schemas.openxmlformats.org/officeDocument/2006/relationships/tags" Target="../tags/tag314.xml"/><Relationship Id="rId6" Type="http://schemas.openxmlformats.org/officeDocument/2006/relationships/image" Target="../media/image2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1.bin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317.xml"/><Relationship Id="rId1" Type="http://schemas.openxmlformats.org/officeDocument/2006/relationships/tags" Target="../tags/tag316.xml"/><Relationship Id="rId6" Type="http://schemas.openxmlformats.org/officeDocument/2006/relationships/image" Target="../media/image1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2.bin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8.xml"/><Relationship Id="rId4" Type="http://schemas.openxmlformats.org/officeDocument/2006/relationships/image" Target="../media/image20.png"/></Relationships>
</file>

<file path=ppt/slideLayouts/_rels/slideLayout2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320.xml"/><Relationship Id="rId7" Type="http://schemas.openxmlformats.org/officeDocument/2006/relationships/image" Target="../media/image19.png"/><Relationship Id="rId2" Type="http://schemas.openxmlformats.org/officeDocument/2006/relationships/tags" Target="../tags/tag319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2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2.xml"/><Relationship Id="rId1" Type="http://schemas.openxmlformats.org/officeDocument/2006/relationships/tags" Target="../tags/tag321.xml"/><Relationship Id="rId6" Type="http://schemas.openxmlformats.org/officeDocument/2006/relationships/image" Target="../media/image2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4.bin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4.xml"/><Relationship Id="rId1" Type="http://schemas.openxmlformats.org/officeDocument/2006/relationships/tags" Target="../tags/tag323.xml"/><Relationship Id="rId6" Type="http://schemas.openxmlformats.org/officeDocument/2006/relationships/image" Target="../media/image2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5.bin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326.xml"/><Relationship Id="rId1" Type="http://schemas.openxmlformats.org/officeDocument/2006/relationships/tags" Target="../tags/tag325.xml"/><Relationship Id="rId6" Type="http://schemas.openxmlformats.org/officeDocument/2006/relationships/image" Target="../media/image1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6.bin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7.xml"/><Relationship Id="rId4" Type="http://schemas.openxmlformats.org/officeDocument/2006/relationships/image" Target="../media/image20.pn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8.xml"/><Relationship Id="rId4" Type="http://schemas.openxmlformats.org/officeDocument/2006/relationships/image" Target="../media/image20.png"/></Relationships>
</file>

<file path=ppt/slideLayouts/_rels/slideLayout2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330.xml"/><Relationship Id="rId1" Type="http://schemas.openxmlformats.org/officeDocument/2006/relationships/tags" Target="../tags/tag329.xml"/><Relationship Id="rId6" Type="http://schemas.openxmlformats.org/officeDocument/2006/relationships/image" Target="../media/image2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7.bin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1.xml"/><Relationship Id="rId6" Type="http://schemas.openxmlformats.org/officeDocument/2006/relationships/image" Target="../media/image18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3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2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335.xml"/><Relationship Id="rId1" Type="http://schemas.openxmlformats.org/officeDocument/2006/relationships/tags" Target="../tags/tag334.xml"/><Relationship Id="rId6" Type="http://schemas.openxmlformats.org/officeDocument/2006/relationships/image" Target="../media/image2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9.bin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337.xml"/><Relationship Id="rId1" Type="http://schemas.openxmlformats.org/officeDocument/2006/relationships/tags" Target="../tags/tag336.xml"/><Relationship Id="rId6" Type="http://schemas.openxmlformats.org/officeDocument/2006/relationships/image" Target="../media/image2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0.bin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2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339.xml"/><Relationship Id="rId1" Type="http://schemas.openxmlformats.org/officeDocument/2006/relationships/tags" Target="../tags/tag338.xml"/><Relationship Id="rId6" Type="http://schemas.openxmlformats.org/officeDocument/2006/relationships/image" Target="../media/image2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1.bin"/></Relationships>
</file>

<file path=ppt/slideLayouts/_rels/slideLayout2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341.xml"/><Relationship Id="rId1" Type="http://schemas.openxmlformats.org/officeDocument/2006/relationships/tags" Target="../tags/tag340.xml"/><Relationship Id="rId6" Type="http://schemas.openxmlformats.org/officeDocument/2006/relationships/image" Target="../media/image26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2.bin"/></Relationships>
</file>

<file path=ppt/slideLayouts/_rels/slideLayout2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343.xml"/><Relationship Id="rId1" Type="http://schemas.openxmlformats.org/officeDocument/2006/relationships/tags" Target="../tags/tag342.xml"/><Relationship Id="rId6" Type="http://schemas.openxmlformats.org/officeDocument/2006/relationships/image" Target="../media/image2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3.bin"/></Relationships>
</file>

<file path=ppt/slideLayouts/_rels/slideLayout2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345.xml"/><Relationship Id="rId1" Type="http://schemas.openxmlformats.org/officeDocument/2006/relationships/tags" Target="../tags/tag344.xml"/><Relationship Id="rId6" Type="http://schemas.openxmlformats.org/officeDocument/2006/relationships/image" Target="../media/image26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4.bin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6.xml"/><Relationship Id="rId4" Type="http://schemas.openxmlformats.org/officeDocument/2006/relationships/image" Target="../media/image20.png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348.xml"/><Relationship Id="rId1" Type="http://schemas.openxmlformats.org/officeDocument/2006/relationships/tags" Target="../tags/tag347.xml"/><Relationship Id="rId6" Type="http://schemas.openxmlformats.org/officeDocument/2006/relationships/image" Target="../media/image1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5.bin"/></Relationships>
</file>

<file path=ppt/slideLayouts/_rels/slideLayout2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350.xml"/><Relationship Id="rId1" Type="http://schemas.openxmlformats.org/officeDocument/2006/relationships/tags" Target="../tags/tag349.xml"/><Relationship Id="rId6" Type="http://schemas.openxmlformats.org/officeDocument/2006/relationships/image" Target="../media/image2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6.bin"/></Relationships>
</file>

<file path=ppt/slideLayouts/_rels/slideLayout2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352.xml"/><Relationship Id="rId1" Type="http://schemas.openxmlformats.org/officeDocument/2006/relationships/tags" Target="../tags/tag351.xml"/><Relationship Id="rId6" Type="http://schemas.openxmlformats.org/officeDocument/2006/relationships/image" Target="../media/image2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7.bin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3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4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2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356.xml"/><Relationship Id="rId1" Type="http://schemas.openxmlformats.org/officeDocument/2006/relationships/tags" Target="../tags/tag355.xml"/><Relationship Id="rId6" Type="http://schemas.openxmlformats.org/officeDocument/2006/relationships/image" Target="../media/image2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8.bin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7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2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359.xml"/><Relationship Id="rId1" Type="http://schemas.openxmlformats.org/officeDocument/2006/relationships/tags" Target="../tags/tag358.xml"/><Relationship Id="rId6" Type="http://schemas.openxmlformats.org/officeDocument/2006/relationships/image" Target="../media/image2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9.bin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0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2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362.xml"/><Relationship Id="rId1" Type="http://schemas.openxmlformats.org/officeDocument/2006/relationships/tags" Target="../tags/tag361.xml"/><Relationship Id="rId6" Type="http://schemas.openxmlformats.org/officeDocument/2006/relationships/image" Target="../media/image2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0.bin"/></Relationships>
</file>

<file path=ppt/slideLayouts/_rels/slideLayout2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364.xml"/><Relationship Id="rId1" Type="http://schemas.openxmlformats.org/officeDocument/2006/relationships/tags" Target="../tags/tag363.xml"/><Relationship Id="rId6" Type="http://schemas.openxmlformats.org/officeDocument/2006/relationships/image" Target="../media/image26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1.bin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5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6.xml"/><Relationship Id="rId6" Type="http://schemas.openxmlformats.org/officeDocument/2006/relationships/image" Target="../media/image19.png"/><Relationship Id="rId5" Type="http://schemas.openxmlformats.org/officeDocument/2006/relationships/image" Target="../media/image26.png"/><Relationship Id="rId4" Type="http://schemas.openxmlformats.org/officeDocument/2006/relationships/image" Target="../media/image6.emf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5.jpeg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368.xml"/><Relationship Id="rId1" Type="http://schemas.openxmlformats.org/officeDocument/2006/relationships/tags" Target="../tags/tag367.xml"/><Relationship Id="rId6" Type="http://schemas.openxmlformats.org/officeDocument/2006/relationships/image" Target="../media/image1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4.bin"/></Relationships>
</file>

<file path=ppt/slideLayouts/_rels/slideLayout2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370.xml"/><Relationship Id="rId1" Type="http://schemas.openxmlformats.org/officeDocument/2006/relationships/tags" Target="../tags/tag369.xml"/><Relationship Id="rId6" Type="http://schemas.openxmlformats.org/officeDocument/2006/relationships/image" Target="../media/image27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5.bin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372.xml"/><Relationship Id="rId1" Type="http://schemas.openxmlformats.org/officeDocument/2006/relationships/tags" Target="../tags/tag371.xml"/><Relationship Id="rId6" Type="http://schemas.openxmlformats.org/officeDocument/2006/relationships/image" Target="../media/image1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6.bin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3.xml"/><Relationship Id="rId5" Type="http://schemas.openxmlformats.org/officeDocument/2006/relationships/image" Target="../media/image19.png"/><Relationship Id="rId4" Type="http://schemas.openxmlformats.org/officeDocument/2006/relationships/image" Target="../media/image6.emf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5.xml"/><Relationship Id="rId6" Type="http://schemas.openxmlformats.org/officeDocument/2006/relationships/image" Target="../media/image19.png"/><Relationship Id="rId5" Type="http://schemas.openxmlformats.org/officeDocument/2006/relationships/image" Target="../media/image28.jpeg"/><Relationship Id="rId4" Type="http://schemas.openxmlformats.org/officeDocument/2006/relationships/image" Target="../media/image3.emf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6.xml"/></Relationships>
</file>

<file path=ppt/slideLayouts/_rels/slideLayout2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379.xml"/><Relationship Id="rId7" Type="http://schemas.openxmlformats.org/officeDocument/2006/relationships/image" Target="../media/image18.png"/><Relationship Id="rId2" Type="http://schemas.openxmlformats.org/officeDocument/2006/relationships/tags" Target="../tags/tag378.xml"/><Relationship Id="rId1" Type="http://schemas.openxmlformats.org/officeDocument/2006/relationships/tags" Target="../tags/tag37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9.bin"/><Relationship Id="rId4" Type="http://schemas.openxmlformats.org/officeDocument/2006/relationships/slideMaster" Target="../slideMasters/slideMaster2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0.xml"/><Relationship Id="rId4" Type="http://schemas.openxmlformats.org/officeDocument/2006/relationships/image" Target="../media/image6.emf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1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2.xml"/><Relationship Id="rId4" Type="http://schemas.openxmlformats.org/officeDocument/2006/relationships/image" Target="../media/image6.emf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3.xml"/><Relationship Id="rId4" Type="http://schemas.openxmlformats.org/officeDocument/2006/relationships/image" Target="../media/image6.emf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4.xml"/><Relationship Id="rId4" Type="http://schemas.openxmlformats.org/officeDocument/2006/relationships/image" Target="../media/image6.emf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5.xml"/><Relationship Id="rId4" Type="http://schemas.openxmlformats.org/officeDocument/2006/relationships/image" Target="../media/image6.emf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6.xml"/><Relationship Id="rId6" Type="http://schemas.openxmlformats.org/officeDocument/2006/relationships/image" Target="../media/image18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7.xml"/><Relationship Id="rId6" Type="http://schemas.openxmlformats.org/officeDocument/2006/relationships/image" Target="../media/image18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8.xml"/><Relationship Id="rId6" Type="http://schemas.openxmlformats.org/officeDocument/2006/relationships/image" Target="../media/image18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9.xml"/><Relationship Id="rId6" Type="http://schemas.openxmlformats.org/officeDocument/2006/relationships/image" Target="../media/image19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0.xml"/><Relationship Id="rId6" Type="http://schemas.openxmlformats.org/officeDocument/2006/relationships/image" Target="../media/image19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1.xml"/><Relationship Id="rId6" Type="http://schemas.openxmlformats.org/officeDocument/2006/relationships/image" Target="../media/image19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10.emf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3.xml"/><Relationship Id="rId6" Type="http://schemas.openxmlformats.org/officeDocument/2006/relationships/image" Target="../media/image19.png"/><Relationship Id="rId5" Type="http://schemas.openxmlformats.org/officeDocument/2006/relationships/image" Target="../media/image23.png"/><Relationship Id="rId4" Type="http://schemas.openxmlformats.org/officeDocument/2006/relationships/image" Target="../media/image6.emf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4.xml"/><Relationship Id="rId6" Type="http://schemas.openxmlformats.org/officeDocument/2006/relationships/image" Target="../media/image18.png"/><Relationship Id="rId5" Type="http://schemas.openxmlformats.org/officeDocument/2006/relationships/image" Target="../media/image24.png"/><Relationship Id="rId4" Type="http://schemas.openxmlformats.org/officeDocument/2006/relationships/image" Target="../media/image6.emf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5.xml"/><Relationship Id="rId6" Type="http://schemas.openxmlformats.org/officeDocument/2006/relationships/image" Target="../media/image19.png"/><Relationship Id="rId5" Type="http://schemas.openxmlformats.org/officeDocument/2006/relationships/image" Target="../media/image25.png"/><Relationship Id="rId4" Type="http://schemas.openxmlformats.org/officeDocument/2006/relationships/image" Target="../media/image6.emf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6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7.xml"/><Relationship Id="rId6" Type="http://schemas.openxmlformats.org/officeDocument/2006/relationships/image" Target="../media/image19.png"/><Relationship Id="rId5" Type="http://schemas.openxmlformats.org/officeDocument/2006/relationships/image" Target="../media/image26.png"/><Relationship Id="rId4" Type="http://schemas.openxmlformats.org/officeDocument/2006/relationships/image" Target="../media/image6.emf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8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9.xml"/><Relationship Id="rId6" Type="http://schemas.openxmlformats.org/officeDocument/2006/relationships/image" Target="../media/image19.png"/><Relationship Id="rId5" Type="http://schemas.openxmlformats.org/officeDocument/2006/relationships/image" Target="../media/image26.png"/><Relationship Id="rId4" Type="http://schemas.openxmlformats.org/officeDocument/2006/relationships/image" Target="../media/image6.emf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0.xml"/><Relationship Id="rId4" Type="http://schemas.openxmlformats.org/officeDocument/2006/relationships/image" Target="../media/image6.emf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1.xml"/><Relationship Id="rId6" Type="http://schemas.openxmlformats.org/officeDocument/2006/relationships/image" Target="../media/image18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2.xml"/><Relationship Id="rId6" Type="http://schemas.openxmlformats.org/officeDocument/2006/relationships/image" Target="../media/image18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3.xml"/><Relationship Id="rId6" Type="http://schemas.openxmlformats.org/officeDocument/2006/relationships/image" Target="../media/image18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4.xml"/><Relationship Id="rId6" Type="http://schemas.openxmlformats.org/officeDocument/2006/relationships/image" Target="../media/image19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5.xml"/><Relationship Id="rId6" Type="http://schemas.openxmlformats.org/officeDocument/2006/relationships/image" Target="../media/image19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6.xml"/><Relationship Id="rId6" Type="http://schemas.openxmlformats.org/officeDocument/2006/relationships/image" Target="../media/image19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3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408.xml"/><Relationship Id="rId1" Type="http://schemas.openxmlformats.org/officeDocument/2006/relationships/tags" Target="../tags/tag407.xml"/><Relationship Id="rId6" Type="http://schemas.openxmlformats.org/officeDocument/2006/relationships/image" Target="../media/image22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16.bin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9.xml"/><Relationship Id="rId6" Type="http://schemas.openxmlformats.org/officeDocument/2006/relationships/image" Target="../media/image19.png"/><Relationship Id="rId5" Type="http://schemas.openxmlformats.org/officeDocument/2006/relationships/image" Target="../media/image23.png"/><Relationship Id="rId4" Type="http://schemas.openxmlformats.org/officeDocument/2006/relationships/image" Target="../media/image6.emf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0.xml"/><Relationship Id="rId6" Type="http://schemas.openxmlformats.org/officeDocument/2006/relationships/image" Target="../media/image18.png"/><Relationship Id="rId5" Type="http://schemas.openxmlformats.org/officeDocument/2006/relationships/image" Target="../media/image24.png"/><Relationship Id="rId4" Type="http://schemas.openxmlformats.org/officeDocument/2006/relationships/image" Target="../media/image6.emf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1.xml"/><Relationship Id="rId6" Type="http://schemas.openxmlformats.org/officeDocument/2006/relationships/image" Target="../media/image19.png"/><Relationship Id="rId5" Type="http://schemas.openxmlformats.org/officeDocument/2006/relationships/image" Target="../media/image25.png"/><Relationship Id="rId4" Type="http://schemas.openxmlformats.org/officeDocument/2006/relationships/image" Target="../media/image6.emf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3.xml"/><Relationship Id="rId6" Type="http://schemas.openxmlformats.org/officeDocument/2006/relationships/image" Target="../media/image19.png"/><Relationship Id="rId5" Type="http://schemas.openxmlformats.org/officeDocument/2006/relationships/image" Target="../media/image26.png"/><Relationship Id="rId4" Type="http://schemas.openxmlformats.org/officeDocument/2006/relationships/image" Target="../media/image6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4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3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416.xml"/><Relationship Id="rId1" Type="http://schemas.openxmlformats.org/officeDocument/2006/relationships/tags" Target="../tags/tag415.xml"/><Relationship Id="rId6" Type="http://schemas.openxmlformats.org/officeDocument/2006/relationships/image" Target="../media/image26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3.bin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8.xml"/><Relationship Id="rId1" Type="http://schemas.openxmlformats.org/officeDocument/2006/relationships/tags" Target="../tags/tag417.xml"/><Relationship Id="rId6" Type="http://schemas.openxmlformats.org/officeDocument/2006/relationships/image" Target="../media/image2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4.bin"/></Relationships>
</file>

<file path=ppt/slideLayouts/_rels/slideLayout3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420.xml"/><Relationship Id="rId1" Type="http://schemas.openxmlformats.org/officeDocument/2006/relationships/tags" Target="../tags/tag419.xml"/><Relationship Id="rId6" Type="http://schemas.openxmlformats.org/officeDocument/2006/relationships/image" Target="../media/image2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5.bin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422.xml"/><Relationship Id="rId1" Type="http://schemas.openxmlformats.org/officeDocument/2006/relationships/tags" Target="../tags/tag421.xml"/><Relationship Id="rId6" Type="http://schemas.openxmlformats.org/officeDocument/2006/relationships/image" Target="../media/image1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6.bin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3.xml"/><Relationship Id="rId5" Type="http://schemas.openxmlformats.org/officeDocument/2006/relationships/image" Target="../media/image20.png"/><Relationship Id="rId4" Type="http://schemas.openxmlformats.org/officeDocument/2006/relationships/image" Target="../media/image18.png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4.xml"/><Relationship Id="rId4" Type="http://schemas.openxmlformats.org/officeDocument/2006/relationships/image" Target="../media/image20.png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5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6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428.xml"/><Relationship Id="rId1" Type="http://schemas.openxmlformats.org/officeDocument/2006/relationships/tags" Target="../tags/tag427.xml"/><Relationship Id="rId6" Type="http://schemas.openxmlformats.org/officeDocument/2006/relationships/image" Target="../media/image1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7.bin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9.xml"/><Relationship Id="rId5" Type="http://schemas.openxmlformats.org/officeDocument/2006/relationships/image" Target="../media/image20.png"/><Relationship Id="rId4" Type="http://schemas.openxmlformats.org/officeDocument/2006/relationships/image" Target="../media/image18.png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0.xml"/><Relationship Id="rId4" Type="http://schemas.openxmlformats.org/officeDocument/2006/relationships/image" Target="../media/image20.png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1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2.xml"/></Relationships>
</file>

<file path=ppt/slideLayouts/_rels/slideLayout3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434.xml"/><Relationship Id="rId1" Type="http://schemas.openxmlformats.org/officeDocument/2006/relationships/tags" Target="../tags/tag433.xml"/><Relationship Id="rId6" Type="http://schemas.openxmlformats.org/officeDocument/2006/relationships/image" Target="../media/image2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8.bin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5.xml"/></Relationships>
</file>

<file path=ppt/slideLayouts/_rels/slideLayout3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438.xml"/><Relationship Id="rId7" Type="http://schemas.openxmlformats.org/officeDocument/2006/relationships/image" Target="../media/image19.png"/><Relationship Id="rId2" Type="http://schemas.openxmlformats.org/officeDocument/2006/relationships/tags" Target="../tags/tag437.xml"/><Relationship Id="rId1" Type="http://schemas.openxmlformats.org/officeDocument/2006/relationships/tags" Target="../tags/tag43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2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440.xml"/><Relationship Id="rId1" Type="http://schemas.openxmlformats.org/officeDocument/2006/relationships/tags" Target="../tags/tag439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0.bin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442.xml"/><Relationship Id="rId1" Type="http://schemas.openxmlformats.org/officeDocument/2006/relationships/tags" Target="../tags/tag441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Layouts/_rels/slideLayout3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444.xml"/><Relationship Id="rId1" Type="http://schemas.openxmlformats.org/officeDocument/2006/relationships/tags" Target="../tags/tag443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2.bin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tags" Target="../tags/tag447.xml"/><Relationship Id="rId7" Type="http://schemas.openxmlformats.org/officeDocument/2006/relationships/image" Target="../media/image20.png"/><Relationship Id="rId2" Type="http://schemas.openxmlformats.org/officeDocument/2006/relationships/tags" Target="../tags/tag446.xml"/><Relationship Id="rId1" Type="http://schemas.openxmlformats.org/officeDocument/2006/relationships/tags" Target="../tags/tag44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3.bin"/><Relationship Id="rId4" Type="http://schemas.openxmlformats.org/officeDocument/2006/relationships/slideMaster" Target="../slideMasters/slideMaster2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9.xml"/><Relationship Id="rId1" Type="http://schemas.openxmlformats.org/officeDocument/2006/relationships/tags" Target="../tags/tag448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4.bin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1.xml"/><Relationship Id="rId1" Type="http://schemas.openxmlformats.org/officeDocument/2006/relationships/tags" Target="../tags/tag450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5.bin"/></Relationships>
</file>

<file path=ppt/slideLayouts/_rels/slideLayout3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453.xml"/><Relationship Id="rId1" Type="http://schemas.openxmlformats.org/officeDocument/2006/relationships/tags" Target="../tags/tag452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6.bin"/></Relationships>
</file>

<file path=ppt/slideLayouts/_rels/slideLayout3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455.xml"/><Relationship Id="rId1" Type="http://schemas.openxmlformats.org/officeDocument/2006/relationships/tags" Target="../tags/tag454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7.bin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457.xml"/><Relationship Id="rId1" Type="http://schemas.openxmlformats.org/officeDocument/2006/relationships/tags" Target="../tags/tag456.xml"/><Relationship Id="rId6" Type="http://schemas.openxmlformats.org/officeDocument/2006/relationships/image" Target="../media/image18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38.bin"/></Relationships>
</file>

<file path=ppt/slideLayouts/_rels/slideLayout3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460.xml"/><Relationship Id="rId7" Type="http://schemas.openxmlformats.org/officeDocument/2006/relationships/image" Target="../media/image19.png"/><Relationship Id="rId2" Type="http://schemas.openxmlformats.org/officeDocument/2006/relationships/tags" Target="../tags/tag459.xml"/><Relationship Id="rId1" Type="http://schemas.openxmlformats.org/officeDocument/2006/relationships/tags" Target="../tags/tag4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9.bin"/><Relationship Id="rId4" Type="http://schemas.openxmlformats.org/officeDocument/2006/relationships/slideMaster" Target="../slideMasters/slideMaster2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462.xml"/><Relationship Id="rId1" Type="http://schemas.openxmlformats.org/officeDocument/2006/relationships/tags" Target="../tags/tag461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0.bin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464.xml"/><Relationship Id="rId1" Type="http://schemas.openxmlformats.org/officeDocument/2006/relationships/tags" Target="../tags/tag463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1.bin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0.bin"/></Relationships>
</file>

<file path=ppt/slideLayouts/_rels/slideLayout3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466.xml"/><Relationship Id="rId1" Type="http://schemas.openxmlformats.org/officeDocument/2006/relationships/tags" Target="../tags/tag465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2.bin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tags" Target="../tags/tag469.xml"/><Relationship Id="rId7" Type="http://schemas.openxmlformats.org/officeDocument/2006/relationships/image" Target="../media/image20.png"/><Relationship Id="rId2" Type="http://schemas.openxmlformats.org/officeDocument/2006/relationships/tags" Target="../tags/tag468.xml"/><Relationship Id="rId1" Type="http://schemas.openxmlformats.org/officeDocument/2006/relationships/tags" Target="../tags/tag46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3.bin"/><Relationship Id="rId4" Type="http://schemas.openxmlformats.org/officeDocument/2006/relationships/slideMaster" Target="../slideMasters/slideMaster2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1.xml"/><Relationship Id="rId1" Type="http://schemas.openxmlformats.org/officeDocument/2006/relationships/tags" Target="../tags/tag470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4.bin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3.xml"/><Relationship Id="rId1" Type="http://schemas.openxmlformats.org/officeDocument/2006/relationships/tags" Target="../tags/tag472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5.bin"/></Relationships>
</file>

<file path=ppt/slideLayouts/_rels/slideLayout3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475.xml"/><Relationship Id="rId1" Type="http://schemas.openxmlformats.org/officeDocument/2006/relationships/tags" Target="../tags/tag474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6.bin"/></Relationships>
</file>

<file path=ppt/slideLayouts/_rels/slideLayout3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477.xml"/><Relationship Id="rId1" Type="http://schemas.openxmlformats.org/officeDocument/2006/relationships/tags" Target="../tags/tag476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7.bin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479.xml"/><Relationship Id="rId1" Type="http://schemas.openxmlformats.org/officeDocument/2006/relationships/tags" Target="../tags/tag478.xml"/><Relationship Id="rId6" Type="http://schemas.openxmlformats.org/officeDocument/2006/relationships/image" Target="../media/image18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48.bin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0.xml"/><Relationship Id="rId4" Type="http://schemas.openxmlformats.org/officeDocument/2006/relationships/image" Target="../media/image6.emf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1.xml"/><Relationship Id="rId4" Type="http://schemas.openxmlformats.org/officeDocument/2006/relationships/image" Target="../media/image16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Layouts/_rels/slideLayout3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483.xml"/><Relationship Id="rId7" Type="http://schemas.openxmlformats.org/officeDocument/2006/relationships/image" Target="../media/image19.png"/><Relationship Id="rId2" Type="http://schemas.openxmlformats.org/officeDocument/2006/relationships/tags" Target="../tags/tag482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4.xml"/><Relationship Id="rId4" Type="http://schemas.openxmlformats.org/officeDocument/2006/relationships/image" Target="../media/image6.emf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6.xml"/><Relationship Id="rId1" Type="http://schemas.openxmlformats.org/officeDocument/2006/relationships/tags" Target="../tags/tag485.xml"/><Relationship Id="rId6" Type="http://schemas.openxmlformats.org/officeDocument/2006/relationships/image" Target="../media/image2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488.xml"/><Relationship Id="rId1" Type="http://schemas.openxmlformats.org/officeDocument/2006/relationships/tags" Target="../tags/tag487.xml"/><Relationship Id="rId6" Type="http://schemas.openxmlformats.org/officeDocument/2006/relationships/image" Target="../media/image1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9.xml"/><Relationship Id="rId4" Type="http://schemas.openxmlformats.org/officeDocument/2006/relationships/image" Target="../media/image20.png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1.xml"/><Relationship Id="rId1" Type="http://schemas.openxmlformats.org/officeDocument/2006/relationships/tags" Target="../tags/tag490.xml"/><Relationship Id="rId6" Type="http://schemas.openxmlformats.org/officeDocument/2006/relationships/image" Target="../media/image2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3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493.xml"/><Relationship Id="rId1" Type="http://schemas.openxmlformats.org/officeDocument/2006/relationships/tags" Target="../tags/tag492.xml"/><Relationship Id="rId6" Type="http://schemas.openxmlformats.org/officeDocument/2006/relationships/image" Target="../media/image2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4.xml"/><Relationship Id="rId6" Type="http://schemas.openxmlformats.org/officeDocument/2006/relationships/image" Target="../media/image18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5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6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3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498.xml"/><Relationship Id="rId1" Type="http://schemas.openxmlformats.org/officeDocument/2006/relationships/tags" Target="../tags/tag497.xml"/><Relationship Id="rId6" Type="http://schemas.openxmlformats.org/officeDocument/2006/relationships/image" Target="../media/image2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500.xml"/><Relationship Id="rId1" Type="http://schemas.openxmlformats.org/officeDocument/2006/relationships/tags" Target="../tags/tag499.xml"/><Relationship Id="rId6" Type="http://schemas.openxmlformats.org/officeDocument/2006/relationships/image" Target="../media/image2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0.bin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3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502.xml"/><Relationship Id="rId1" Type="http://schemas.openxmlformats.org/officeDocument/2006/relationships/tags" Target="../tags/tag501.xml"/><Relationship Id="rId6" Type="http://schemas.openxmlformats.org/officeDocument/2006/relationships/image" Target="../media/image2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3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504.xml"/><Relationship Id="rId1" Type="http://schemas.openxmlformats.org/officeDocument/2006/relationships/tags" Target="../tags/tag503.xml"/><Relationship Id="rId6" Type="http://schemas.openxmlformats.org/officeDocument/2006/relationships/image" Target="../media/image26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3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506.xml"/><Relationship Id="rId1" Type="http://schemas.openxmlformats.org/officeDocument/2006/relationships/tags" Target="../tags/tag505.xml"/><Relationship Id="rId6" Type="http://schemas.openxmlformats.org/officeDocument/2006/relationships/image" Target="../media/image2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3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508.xml"/><Relationship Id="rId1" Type="http://schemas.openxmlformats.org/officeDocument/2006/relationships/tags" Target="../tags/tag507.xml"/><Relationship Id="rId6" Type="http://schemas.openxmlformats.org/officeDocument/2006/relationships/image" Target="../media/image26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9.xml"/><Relationship Id="rId4" Type="http://schemas.openxmlformats.org/officeDocument/2006/relationships/image" Target="../media/image20.png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511.xml"/><Relationship Id="rId1" Type="http://schemas.openxmlformats.org/officeDocument/2006/relationships/tags" Target="../tags/tag510.xml"/><Relationship Id="rId6" Type="http://schemas.openxmlformats.org/officeDocument/2006/relationships/image" Target="../media/image1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1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3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513.xml"/><Relationship Id="rId1" Type="http://schemas.openxmlformats.org/officeDocument/2006/relationships/tags" Target="../tags/tag512.xml"/><Relationship Id="rId6" Type="http://schemas.openxmlformats.org/officeDocument/2006/relationships/image" Target="../media/image2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4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5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6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7.xml"/><Relationship Id="rId6" Type="http://schemas.openxmlformats.org/officeDocument/2006/relationships/image" Target="../media/image19.png"/><Relationship Id="rId5" Type="http://schemas.openxmlformats.org/officeDocument/2006/relationships/image" Target="../media/image26.png"/><Relationship Id="rId4" Type="http://schemas.openxmlformats.org/officeDocument/2006/relationships/image" Target="../media/image6.emf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519.xml"/><Relationship Id="rId1" Type="http://schemas.openxmlformats.org/officeDocument/2006/relationships/tags" Target="../tags/tag518.xml"/><Relationship Id="rId6" Type="http://schemas.openxmlformats.org/officeDocument/2006/relationships/image" Target="../media/image1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8.bin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0.xml"/><Relationship Id="rId5" Type="http://schemas.openxmlformats.org/officeDocument/2006/relationships/image" Target="../media/image19.png"/><Relationship Id="rId4" Type="http://schemas.openxmlformats.org/officeDocument/2006/relationships/image" Target="../media/image6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6" Type="http://schemas.openxmlformats.org/officeDocument/2006/relationships/image" Target="../media/image2.png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1.xml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2.xml"/><Relationship Id="rId4" Type="http://schemas.openxmlformats.org/officeDocument/2006/relationships/image" Target="../media/image6.emf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3.xml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4.xml"/><Relationship Id="rId4" Type="http://schemas.openxmlformats.org/officeDocument/2006/relationships/image" Target="../media/image6.emf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5.xml"/><Relationship Id="rId6" Type="http://schemas.openxmlformats.org/officeDocument/2006/relationships/image" Target="../media/image18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6.xml"/><Relationship Id="rId6" Type="http://schemas.openxmlformats.org/officeDocument/2006/relationships/image" Target="../media/image18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6" Type="http://schemas.openxmlformats.org/officeDocument/2006/relationships/image" Target="../media/image4.png"/><Relationship Id="rId5" Type="http://schemas.openxmlformats.org/officeDocument/2006/relationships/image" Target="../media/image13.png"/><Relationship Id="rId4" Type="http://schemas.openxmlformats.org/officeDocument/2006/relationships/image" Target="../media/image6.emf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7.xml"/><Relationship Id="rId6" Type="http://schemas.openxmlformats.org/officeDocument/2006/relationships/image" Target="../media/image18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8.xml"/><Relationship Id="rId6" Type="http://schemas.openxmlformats.org/officeDocument/2006/relationships/image" Target="../media/image19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9.xml"/><Relationship Id="rId6" Type="http://schemas.openxmlformats.org/officeDocument/2006/relationships/image" Target="../media/image19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0.xml"/><Relationship Id="rId6" Type="http://schemas.openxmlformats.org/officeDocument/2006/relationships/image" Target="../media/image19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1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10.emf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2.xml"/><Relationship Id="rId6" Type="http://schemas.openxmlformats.org/officeDocument/2006/relationships/image" Target="../media/image19.png"/><Relationship Id="rId5" Type="http://schemas.openxmlformats.org/officeDocument/2006/relationships/image" Target="../media/image23.png"/><Relationship Id="rId4" Type="http://schemas.openxmlformats.org/officeDocument/2006/relationships/image" Target="../media/image6.emf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3.xml"/><Relationship Id="rId6" Type="http://schemas.openxmlformats.org/officeDocument/2006/relationships/image" Target="../media/image18.png"/><Relationship Id="rId5" Type="http://schemas.openxmlformats.org/officeDocument/2006/relationships/image" Target="../media/image24.png"/><Relationship Id="rId4" Type="http://schemas.openxmlformats.org/officeDocument/2006/relationships/image" Target="../media/image6.emf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4.xml"/><Relationship Id="rId6" Type="http://schemas.openxmlformats.org/officeDocument/2006/relationships/image" Target="../media/image19.png"/><Relationship Id="rId5" Type="http://schemas.openxmlformats.org/officeDocument/2006/relationships/image" Target="../media/image25.png"/><Relationship Id="rId4" Type="http://schemas.openxmlformats.org/officeDocument/2006/relationships/image" Target="../media/image6.emf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5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6.xml"/><Relationship Id="rId6" Type="http://schemas.openxmlformats.org/officeDocument/2006/relationships/image" Target="../media/image19.png"/><Relationship Id="rId5" Type="http://schemas.openxmlformats.org/officeDocument/2006/relationships/image" Target="../media/image26.png"/><Relationship Id="rId4" Type="http://schemas.openxmlformats.org/officeDocument/2006/relationships/image" Target="../media/image6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5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7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8.xml"/><Relationship Id="rId6" Type="http://schemas.openxmlformats.org/officeDocument/2006/relationships/image" Target="../media/image19.png"/><Relationship Id="rId5" Type="http://schemas.openxmlformats.org/officeDocument/2006/relationships/image" Target="../media/image26.png"/><Relationship Id="rId4" Type="http://schemas.openxmlformats.org/officeDocument/2006/relationships/image" Target="../media/image6.emf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9.xml"/><Relationship Id="rId4" Type="http://schemas.openxmlformats.org/officeDocument/2006/relationships/image" Target="../media/image6.emf"/></Relationships>
</file>

<file path=ppt/slideLayouts/_rels/slideLayout4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541.xml"/><Relationship Id="rId1" Type="http://schemas.openxmlformats.org/officeDocument/2006/relationships/tags" Target="../tags/tag540.xml"/><Relationship Id="rId6" Type="http://schemas.openxmlformats.org/officeDocument/2006/relationships/image" Target="../media/image22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0.bin"/></Relationships>
</file>

<file path=ppt/slideLayouts/_rels/slideLayout4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2.xml"/><Relationship Id="rId6" Type="http://schemas.openxmlformats.org/officeDocument/2006/relationships/image" Target="../media/image19.png"/><Relationship Id="rId5" Type="http://schemas.openxmlformats.org/officeDocument/2006/relationships/image" Target="../media/image25.png"/><Relationship Id="rId4" Type="http://schemas.openxmlformats.org/officeDocument/2006/relationships/image" Target="../media/image6.emf"/></Relationships>
</file>

<file path=ppt/slideLayouts/_rels/slideLayout4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544.xml"/><Relationship Id="rId1" Type="http://schemas.openxmlformats.org/officeDocument/2006/relationships/tags" Target="../tags/tag543.xml"/><Relationship Id="rId6" Type="http://schemas.openxmlformats.org/officeDocument/2006/relationships/image" Target="../media/image26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7.bin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6.xml"/><Relationship Id="rId1" Type="http://schemas.openxmlformats.org/officeDocument/2006/relationships/tags" Target="../tags/tag545.xml"/><Relationship Id="rId6" Type="http://schemas.openxmlformats.org/officeDocument/2006/relationships/image" Target="../media/image2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8.bin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548.xml"/><Relationship Id="rId1" Type="http://schemas.openxmlformats.org/officeDocument/2006/relationships/tags" Target="../tags/tag547.xml"/><Relationship Id="rId6" Type="http://schemas.openxmlformats.org/officeDocument/2006/relationships/image" Target="../media/image1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9.bin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9.xml"/><Relationship Id="rId5" Type="http://schemas.openxmlformats.org/officeDocument/2006/relationships/image" Target="../media/image20.png"/><Relationship Id="rId4" Type="http://schemas.openxmlformats.org/officeDocument/2006/relationships/image" Target="../media/image18.pn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1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7.bin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0.xml"/><Relationship Id="rId4" Type="http://schemas.openxmlformats.org/officeDocument/2006/relationships/image" Target="../media/image20.png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1.xml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2.xml"/></Relationships>
</file>

<file path=ppt/slideLayouts/_rels/slideLayout4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555.xml"/><Relationship Id="rId7" Type="http://schemas.openxmlformats.org/officeDocument/2006/relationships/image" Target="../media/image19.png"/><Relationship Id="rId2" Type="http://schemas.openxmlformats.org/officeDocument/2006/relationships/tags" Target="../tags/tag554.xml"/><Relationship Id="rId1" Type="http://schemas.openxmlformats.org/officeDocument/2006/relationships/tags" Target="../tags/tag55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2.xml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557.xml"/><Relationship Id="rId1" Type="http://schemas.openxmlformats.org/officeDocument/2006/relationships/tags" Target="../tags/tag556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559.xml"/><Relationship Id="rId1" Type="http://schemas.openxmlformats.org/officeDocument/2006/relationships/tags" Target="../tags/tag558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4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561.xml"/><Relationship Id="rId1" Type="http://schemas.openxmlformats.org/officeDocument/2006/relationships/tags" Target="../tags/tag560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tags" Target="../tags/tag564.xml"/><Relationship Id="rId7" Type="http://schemas.openxmlformats.org/officeDocument/2006/relationships/image" Target="../media/image20.png"/><Relationship Id="rId2" Type="http://schemas.openxmlformats.org/officeDocument/2006/relationships/tags" Target="../tags/tag563.xml"/><Relationship Id="rId1" Type="http://schemas.openxmlformats.org/officeDocument/2006/relationships/tags" Target="../tags/tag56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2.xml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6.xml"/><Relationship Id="rId1" Type="http://schemas.openxmlformats.org/officeDocument/2006/relationships/tags" Target="../tags/tag565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8.xml"/><Relationship Id="rId1" Type="http://schemas.openxmlformats.org/officeDocument/2006/relationships/tags" Target="../tags/tag567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8.bin"/></Relationships>
</file>

<file path=ppt/slideLayouts/_rels/slideLayout4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570.xml"/><Relationship Id="rId1" Type="http://schemas.openxmlformats.org/officeDocument/2006/relationships/tags" Target="../tags/tag569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4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572.xml"/><Relationship Id="rId1" Type="http://schemas.openxmlformats.org/officeDocument/2006/relationships/tags" Target="../tags/tag571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4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574.xml"/><Relationship Id="rId1" Type="http://schemas.openxmlformats.org/officeDocument/2006/relationships/tags" Target="../tags/tag573.xml"/><Relationship Id="rId6" Type="http://schemas.openxmlformats.org/officeDocument/2006/relationships/image" Target="../media/image18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4.bin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75.xml"/><Relationship Id="rId4" Type="http://schemas.openxmlformats.org/officeDocument/2006/relationships/image" Target="../media/image6.emf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76.xml"/><Relationship Id="rId4" Type="http://schemas.openxmlformats.org/officeDocument/2006/relationships/image" Target="../media/image16.emf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9.xml"/><Relationship Id="rId1" Type="http://schemas.openxmlformats.org/officeDocument/2006/relationships/tags" Target="../tags/tag578.xml"/><Relationship Id="rId6" Type="http://schemas.openxmlformats.org/officeDocument/2006/relationships/image" Target="../media/image2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4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80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4.bin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81.xml"/><Relationship Id="rId4" Type="http://schemas.openxmlformats.org/officeDocument/2006/relationships/image" Target="../media/image6.emf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82.xml"/><Relationship Id="rId4" Type="http://schemas.openxmlformats.org/officeDocument/2006/relationships/image" Target="../media/image6.emf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83.xml"/><Relationship Id="rId5" Type="http://schemas.openxmlformats.org/officeDocument/2006/relationships/image" Target="../media/image29.png"/><Relationship Id="rId4" Type="http://schemas.openxmlformats.org/officeDocument/2006/relationships/image" Target="../media/image6.emf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4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84.xml"/><Relationship Id="rId6" Type="http://schemas.openxmlformats.org/officeDocument/2006/relationships/image" Target="../media/image29.png"/><Relationship Id="rId5" Type="http://schemas.openxmlformats.org/officeDocument/2006/relationships/image" Target="../media/image30.png"/><Relationship Id="rId4" Type="http://schemas.openxmlformats.org/officeDocument/2006/relationships/image" Target="../media/image6.emf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85.xml"/><Relationship Id="rId6" Type="http://schemas.openxmlformats.org/officeDocument/2006/relationships/image" Target="../media/image29.png"/><Relationship Id="rId5" Type="http://schemas.openxmlformats.org/officeDocument/2006/relationships/image" Target="../media/image30.png"/><Relationship Id="rId4" Type="http://schemas.openxmlformats.org/officeDocument/2006/relationships/image" Target="../media/image6.emf"/></Relationships>
</file>

<file path=ppt/slideLayouts/_rels/slideLayout4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4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86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4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87.xml"/><Relationship Id="rId6" Type="http://schemas.openxmlformats.org/officeDocument/2006/relationships/image" Target="../media/image29.png"/><Relationship Id="rId5" Type="http://schemas.openxmlformats.org/officeDocument/2006/relationships/image" Target="../media/image24.png"/><Relationship Id="rId4" Type="http://schemas.openxmlformats.org/officeDocument/2006/relationships/image" Target="../media/image10.emf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4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88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4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89.xml"/><Relationship Id="rId6" Type="http://schemas.openxmlformats.org/officeDocument/2006/relationships/image" Target="../media/image19.png"/><Relationship Id="rId5" Type="http://schemas.openxmlformats.org/officeDocument/2006/relationships/image" Target="../media/image31.png"/><Relationship Id="rId4" Type="http://schemas.openxmlformats.org/officeDocument/2006/relationships/image" Target="../media/image6.emf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90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91.xml"/><Relationship Id="rId6" Type="http://schemas.openxmlformats.org/officeDocument/2006/relationships/image" Target="../media/image19.png"/><Relationship Id="rId5" Type="http://schemas.openxmlformats.org/officeDocument/2006/relationships/image" Target="../media/image31.png"/><Relationship Id="rId4" Type="http://schemas.openxmlformats.org/officeDocument/2006/relationships/image" Target="../media/image6.emf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4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92.xml"/><Relationship Id="rId5" Type="http://schemas.openxmlformats.org/officeDocument/2006/relationships/image" Target="../media/image29.png"/><Relationship Id="rId4" Type="http://schemas.openxmlformats.org/officeDocument/2006/relationships/image" Target="../media/image6.emf"/></Relationships>
</file>

<file path=ppt/slideLayouts/_rels/slideLayout4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93.xml"/><Relationship Id="rId6" Type="http://schemas.openxmlformats.org/officeDocument/2006/relationships/image" Target="../media/image19.png"/><Relationship Id="rId5" Type="http://schemas.openxmlformats.org/officeDocument/2006/relationships/image" Target="../media/image27.png"/><Relationship Id="rId4" Type="http://schemas.openxmlformats.org/officeDocument/2006/relationships/image" Target="../media/image10.emf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94.xml"/><Relationship Id="rId5" Type="http://schemas.openxmlformats.org/officeDocument/2006/relationships/image" Target="../media/image19.png"/><Relationship Id="rId4" Type="http://schemas.openxmlformats.org/officeDocument/2006/relationships/image" Target="../media/image6.emf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95.xml"/><Relationship Id="rId6" Type="http://schemas.openxmlformats.org/officeDocument/2006/relationships/image" Target="../media/image19.png"/><Relationship Id="rId5" Type="http://schemas.openxmlformats.org/officeDocument/2006/relationships/image" Target="../media/image32.jpeg"/><Relationship Id="rId4" Type="http://schemas.openxmlformats.org/officeDocument/2006/relationships/image" Target="../media/image3.emf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7.xml"/><Relationship Id="rId1" Type="http://schemas.openxmlformats.org/officeDocument/2006/relationships/tags" Target="../tags/tag596.xml"/><Relationship Id="rId6" Type="http://schemas.openxmlformats.org/officeDocument/2006/relationships/image" Target="../media/image2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1.bin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98.xml"/><Relationship Id="rId4" Type="http://schemas.openxmlformats.org/officeDocument/2006/relationships/image" Target="../media/image6.emf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99.xml"/><Relationship Id="rId4" Type="http://schemas.openxmlformats.org/officeDocument/2006/relationships/image" Target="../media/image6.emf"/></Relationships>
</file>

<file path=ppt/slideLayouts/_rels/slideLayout4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0.xml"/><Relationship Id="rId4" Type="http://schemas.openxmlformats.org/officeDocument/2006/relationships/image" Target="../media/image6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5" Type="http://schemas.openxmlformats.org/officeDocument/2006/relationships/image" Target="../media/image4.png"/><Relationship Id="rId4" Type="http://schemas.openxmlformats.org/officeDocument/2006/relationships/image" Target="../media/image6.emf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1.xml"/><Relationship Id="rId6" Type="http://schemas.openxmlformats.org/officeDocument/2006/relationships/image" Target="../media/image29.png"/><Relationship Id="rId5" Type="http://schemas.openxmlformats.org/officeDocument/2006/relationships/image" Target="../media/image30.png"/><Relationship Id="rId4" Type="http://schemas.openxmlformats.org/officeDocument/2006/relationships/image" Target="../media/image6.emf"/></Relationships>
</file>

<file path=ppt/slideLayouts/_rels/slideLayout4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2.xml"/><Relationship Id="rId6" Type="http://schemas.openxmlformats.org/officeDocument/2006/relationships/image" Target="../media/image29.png"/><Relationship Id="rId5" Type="http://schemas.openxmlformats.org/officeDocument/2006/relationships/image" Target="../media/image30.png"/><Relationship Id="rId4" Type="http://schemas.openxmlformats.org/officeDocument/2006/relationships/image" Target="../media/image6.emf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3.xml"/><Relationship Id="rId6" Type="http://schemas.openxmlformats.org/officeDocument/2006/relationships/image" Target="../media/image29.png"/><Relationship Id="rId5" Type="http://schemas.openxmlformats.org/officeDocument/2006/relationships/image" Target="../media/image30.png"/><Relationship Id="rId4" Type="http://schemas.openxmlformats.org/officeDocument/2006/relationships/image" Target="../media/image6.emf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4.xml"/><Relationship Id="rId6" Type="http://schemas.openxmlformats.org/officeDocument/2006/relationships/image" Target="../media/image19.png"/><Relationship Id="rId5" Type="http://schemas.openxmlformats.org/officeDocument/2006/relationships/image" Target="../media/image30.png"/><Relationship Id="rId4" Type="http://schemas.openxmlformats.org/officeDocument/2006/relationships/image" Target="../media/image6.emf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5.xml"/><Relationship Id="rId6" Type="http://schemas.openxmlformats.org/officeDocument/2006/relationships/image" Target="../media/image19.png"/><Relationship Id="rId5" Type="http://schemas.openxmlformats.org/officeDocument/2006/relationships/image" Target="../media/image30.png"/><Relationship Id="rId4" Type="http://schemas.openxmlformats.org/officeDocument/2006/relationships/image" Target="../media/image6.emf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6.xml"/><Relationship Id="rId6" Type="http://schemas.openxmlformats.org/officeDocument/2006/relationships/image" Target="../media/image19.png"/><Relationship Id="rId5" Type="http://schemas.openxmlformats.org/officeDocument/2006/relationships/image" Target="../media/image30.png"/><Relationship Id="rId4" Type="http://schemas.openxmlformats.org/officeDocument/2006/relationships/image" Target="../media/image6.emf"/></Relationships>
</file>

<file path=ppt/slideLayouts/_rels/slideLayout4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7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10.emf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8.xml"/><Relationship Id="rId6" Type="http://schemas.openxmlformats.org/officeDocument/2006/relationships/image" Target="../media/image19.png"/><Relationship Id="rId5" Type="http://schemas.openxmlformats.org/officeDocument/2006/relationships/image" Target="../media/image31.png"/><Relationship Id="rId4" Type="http://schemas.openxmlformats.org/officeDocument/2006/relationships/image" Target="../media/image6.emf"/></Relationships>
</file>

<file path=ppt/slideLayouts/_rels/slideLayout4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9.xml"/><Relationship Id="rId6" Type="http://schemas.openxmlformats.org/officeDocument/2006/relationships/image" Target="../media/image29.png"/><Relationship Id="rId5" Type="http://schemas.openxmlformats.org/officeDocument/2006/relationships/image" Target="../media/image24.png"/><Relationship Id="rId4" Type="http://schemas.openxmlformats.org/officeDocument/2006/relationships/image" Target="../media/image6.emf"/></Relationships>
</file>

<file path=ppt/slideLayouts/_rels/slideLayout4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0.xml"/><Relationship Id="rId6" Type="http://schemas.openxmlformats.org/officeDocument/2006/relationships/image" Target="../media/image19.png"/><Relationship Id="rId5" Type="http://schemas.openxmlformats.org/officeDocument/2006/relationships/image" Target="../media/image31.png"/><Relationship Id="rId4" Type="http://schemas.openxmlformats.org/officeDocument/2006/relationships/image" Target="../media/image6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/Relationships>
</file>

<file path=ppt/slideLayouts/_rels/slideLayout4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1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4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2.xml"/><Relationship Id="rId6" Type="http://schemas.openxmlformats.org/officeDocument/2006/relationships/image" Target="../media/image19.png"/><Relationship Id="rId5" Type="http://schemas.openxmlformats.org/officeDocument/2006/relationships/image" Target="../media/image31.png"/><Relationship Id="rId4" Type="http://schemas.openxmlformats.org/officeDocument/2006/relationships/image" Target="../media/image6.emf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3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4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4.xml"/><Relationship Id="rId6" Type="http://schemas.openxmlformats.org/officeDocument/2006/relationships/image" Target="../media/image19.png"/><Relationship Id="rId5" Type="http://schemas.openxmlformats.org/officeDocument/2006/relationships/image" Target="../media/image31.png"/><Relationship Id="rId4" Type="http://schemas.openxmlformats.org/officeDocument/2006/relationships/image" Target="../media/image6.emf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4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5.xml"/><Relationship Id="rId4" Type="http://schemas.openxmlformats.org/officeDocument/2006/relationships/image" Target="../media/image6.emf"/></Relationships>
</file>

<file path=ppt/slideLayouts/_rels/slideLayout4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6.xml"/><Relationship Id="rId6" Type="http://schemas.openxmlformats.org/officeDocument/2006/relationships/image" Target="../media/image19.png"/><Relationship Id="rId5" Type="http://schemas.openxmlformats.org/officeDocument/2006/relationships/image" Target="../media/image27.png"/><Relationship Id="rId4" Type="http://schemas.openxmlformats.org/officeDocument/2006/relationships/image" Target="../media/image3.emf"/></Relationships>
</file>

<file path=ppt/slideLayouts/_rels/slideLayout4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7.xml"/><Relationship Id="rId5" Type="http://schemas.openxmlformats.org/officeDocument/2006/relationships/image" Target="../media/image19.png"/><Relationship Id="rId4" Type="http://schemas.openxmlformats.org/officeDocument/2006/relationships/image" Target="../media/image6.emf"/></Relationships>
</file>

<file path=ppt/slideLayouts/_rels/slideLayout4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Relationship Id="rId6" Type="http://schemas.openxmlformats.org/officeDocument/2006/relationships/image" Target="../media/image4.png"/><Relationship Id="rId5" Type="http://schemas.openxmlformats.org/officeDocument/2006/relationships/image" Target="../media/image15.jpeg"/><Relationship Id="rId4" Type="http://schemas.openxmlformats.org/officeDocument/2006/relationships/image" Target="../media/image3.emf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8.xml"/><Relationship Id="rId6" Type="http://schemas.openxmlformats.org/officeDocument/2006/relationships/image" Target="../media/image19.png"/><Relationship Id="rId5" Type="http://schemas.openxmlformats.org/officeDocument/2006/relationships/image" Target="../media/image32.jpeg"/><Relationship Id="rId4" Type="http://schemas.openxmlformats.org/officeDocument/2006/relationships/image" Target="../media/image3.emf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20.xml"/><Relationship Id="rId1" Type="http://schemas.openxmlformats.org/officeDocument/2006/relationships/tags" Target="../tags/tag619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5.bin"/></Relationships>
</file>

<file path=ppt/slideLayouts/_rels/slideLayout4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1.xml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4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2.xml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4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3.xml"/><Relationship Id="rId6" Type="http://schemas.openxmlformats.org/officeDocument/2006/relationships/image" Target="../media/image19.png"/><Relationship Id="rId5" Type="http://schemas.openxmlformats.org/officeDocument/2006/relationships/image" Target="../media/image30.png"/><Relationship Id="rId4" Type="http://schemas.openxmlformats.org/officeDocument/2006/relationships/image" Target="../media/image1.emf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25.xml"/><Relationship Id="rId1" Type="http://schemas.openxmlformats.org/officeDocument/2006/relationships/tags" Target="../tags/tag6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4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6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7.xml"/></Relationships>
</file>

<file path=ppt/slideLayouts/_rels/slideLayout4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7.xml"/><Relationship Id="rId4" Type="http://schemas.openxmlformats.org/officeDocument/2006/relationships/image" Target="../media/image1.emf"/></Relationships>
</file>

<file path=ppt/slideLayouts/_rels/slideLayout4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8.xml"/><Relationship Id="rId6" Type="http://schemas.openxmlformats.org/officeDocument/2006/relationships/image" Target="../media/image19.png"/><Relationship Id="rId5" Type="http://schemas.openxmlformats.org/officeDocument/2006/relationships/image" Target="../media/image30.png"/><Relationship Id="rId4" Type="http://schemas.openxmlformats.org/officeDocument/2006/relationships/image" Target="../media/image1.emf"/></Relationships>
</file>

<file path=ppt/slideLayouts/_rels/slideLayout4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9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4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0.xml"/><Relationship Id="rId5" Type="http://schemas.openxmlformats.org/officeDocument/2006/relationships/image" Target="../media/image29.png"/><Relationship Id="rId4" Type="http://schemas.openxmlformats.org/officeDocument/2006/relationships/image" Target="../media/image16.emf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5.png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31.x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4.bin"/></Relationships>
</file>

<file path=ppt/slideLayouts/_rels/slideLayout4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2.xml"/><Relationship Id="rId4" Type="http://schemas.openxmlformats.org/officeDocument/2006/relationships/image" Target="../media/image6.emf"/></Relationships>
</file>

<file path=ppt/slideLayouts/_rels/slideLayout4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3.xml"/><Relationship Id="rId4" Type="http://schemas.openxmlformats.org/officeDocument/2006/relationships/image" Target="../media/image6.emf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4.xml"/><Relationship Id="rId5" Type="http://schemas.openxmlformats.org/officeDocument/2006/relationships/image" Target="../media/image29.png"/><Relationship Id="rId4" Type="http://schemas.openxmlformats.org/officeDocument/2006/relationships/image" Target="../media/image6.emf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70.xml"/><Relationship Id="rId7" Type="http://schemas.openxmlformats.org/officeDocument/2006/relationships/image" Target="../media/image2.pn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5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5.xml"/><Relationship Id="rId6" Type="http://schemas.openxmlformats.org/officeDocument/2006/relationships/image" Target="../media/image29.png"/><Relationship Id="rId5" Type="http://schemas.openxmlformats.org/officeDocument/2006/relationships/image" Target="../media/image30.png"/><Relationship Id="rId4" Type="http://schemas.openxmlformats.org/officeDocument/2006/relationships/image" Target="../media/image6.emf"/></Relationships>
</file>

<file path=ppt/slideLayouts/_rels/slideLayout5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6.xml"/><Relationship Id="rId6" Type="http://schemas.openxmlformats.org/officeDocument/2006/relationships/image" Target="../media/image29.png"/><Relationship Id="rId5" Type="http://schemas.openxmlformats.org/officeDocument/2006/relationships/image" Target="../media/image30.png"/><Relationship Id="rId4" Type="http://schemas.openxmlformats.org/officeDocument/2006/relationships/image" Target="../media/image6.emf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5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5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7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5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5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8.xml"/><Relationship Id="rId6" Type="http://schemas.openxmlformats.org/officeDocument/2006/relationships/image" Target="../media/image29.png"/><Relationship Id="rId5" Type="http://schemas.openxmlformats.org/officeDocument/2006/relationships/image" Target="../media/image24.png"/><Relationship Id="rId4" Type="http://schemas.openxmlformats.org/officeDocument/2006/relationships/image" Target="../media/image10.emf"/></Relationships>
</file>

<file path=ppt/slideLayouts/_rels/slideLayout5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5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9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1.xml"/><Relationship Id="rId4" Type="http://schemas.openxmlformats.org/officeDocument/2006/relationships/image" Target="../media/image6.emf"/></Relationships>
</file>

<file path=ppt/slideLayouts/_rels/slideLayout5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0.xml"/><Relationship Id="rId6" Type="http://schemas.openxmlformats.org/officeDocument/2006/relationships/image" Target="../media/image19.png"/><Relationship Id="rId5" Type="http://schemas.openxmlformats.org/officeDocument/2006/relationships/image" Target="../media/image31.png"/><Relationship Id="rId4" Type="http://schemas.openxmlformats.org/officeDocument/2006/relationships/image" Target="../media/image6.emf"/></Relationships>
</file>

<file path=ppt/slideLayouts/_rels/slideLayout5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1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5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2.xml"/><Relationship Id="rId6" Type="http://schemas.openxmlformats.org/officeDocument/2006/relationships/image" Target="../media/image19.png"/><Relationship Id="rId5" Type="http://schemas.openxmlformats.org/officeDocument/2006/relationships/image" Target="../media/image31.png"/><Relationship Id="rId4" Type="http://schemas.openxmlformats.org/officeDocument/2006/relationships/image" Target="../media/image6.emf"/></Relationships>
</file>

<file path=ppt/slideLayouts/_rels/slideLayout5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5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3.xml"/><Relationship Id="rId5" Type="http://schemas.openxmlformats.org/officeDocument/2006/relationships/image" Target="../media/image29.png"/><Relationship Id="rId4" Type="http://schemas.openxmlformats.org/officeDocument/2006/relationships/image" Target="../media/image6.emf"/></Relationships>
</file>

<file path=ppt/slideLayouts/_rels/slideLayout5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4.xml"/><Relationship Id="rId5" Type="http://schemas.openxmlformats.org/officeDocument/2006/relationships/image" Target="../media/image19.png"/><Relationship Id="rId4" Type="http://schemas.openxmlformats.org/officeDocument/2006/relationships/image" Target="../media/image6.emf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5.xml"/><Relationship Id="rId4" Type="http://schemas.openxmlformats.org/officeDocument/2006/relationships/image" Target="../media/image6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5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6.xml"/><Relationship Id="rId4" Type="http://schemas.openxmlformats.org/officeDocument/2006/relationships/image" Target="../media/image6.emf"/></Relationships>
</file>

<file path=ppt/slideLayouts/_rels/slideLayout5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7.xml"/><Relationship Id="rId6" Type="http://schemas.openxmlformats.org/officeDocument/2006/relationships/image" Target="../media/image29.png"/><Relationship Id="rId5" Type="http://schemas.openxmlformats.org/officeDocument/2006/relationships/image" Target="../media/image30.png"/><Relationship Id="rId4" Type="http://schemas.openxmlformats.org/officeDocument/2006/relationships/image" Target="../media/image6.emf"/></Relationships>
</file>

<file path=ppt/slideLayouts/_rels/slideLayout5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8.xml"/><Relationship Id="rId6" Type="http://schemas.openxmlformats.org/officeDocument/2006/relationships/image" Target="../media/image29.png"/><Relationship Id="rId5" Type="http://schemas.openxmlformats.org/officeDocument/2006/relationships/image" Target="../media/image30.png"/><Relationship Id="rId4" Type="http://schemas.openxmlformats.org/officeDocument/2006/relationships/image" Target="../media/image6.emf"/></Relationships>
</file>

<file path=ppt/slideLayouts/_rels/slideLayout5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9.xml"/><Relationship Id="rId6" Type="http://schemas.openxmlformats.org/officeDocument/2006/relationships/image" Target="../media/image29.png"/><Relationship Id="rId5" Type="http://schemas.openxmlformats.org/officeDocument/2006/relationships/image" Target="../media/image30.png"/><Relationship Id="rId4" Type="http://schemas.openxmlformats.org/officeDocument/2006/relationships/image" Target="../media/image6.emf"/></Relationships>
</file>

<file path=ppt/slideLayouts/_rels/slideLayout5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0.xml"/><Relationship Id="rId6" Type="http://schemas.openxmlformats.org/officeDocument/2006/relationships/image" Target="../media/image19.png"/><Relationship Id="rId5" Type="http://schemas.openxmlformats.org/officeDocument/2006/relationships/image" Target="../media/image30.png"/><Relationship Id="rId4" Type="http://schemas.openxmlformats.org/officeDocument/2006/relationships/image" Target="../media/image6.emf"/></Relationships>
</file>

<file path=ppt/slideLayouts/_rels/slideLayout5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1.xml"/><Relationship Id="rId6" Type="http://schemas.openxmlformats.org/officeDocument/2006/relationships/image" Target="../media/image19.png"/><Relationship Id="rId5" Type="http://schemas.openxmlformats.org/officeDocument/2006/relationships/image" Target="../media/image30.png"/><Relationship Id="rId4" Type="http://schemas.openxmlformats.org/officeDocument/2006/relationships/image" Target="../media/image6.emf"/></Relationships>
</file>

<file path=ppt/slideLayouts/_rels/slideLayout5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2.xml"/><Relationship Id="rId6" Type="http://schemas.openxmlformats.org/officeDocument/2006/relationships/image" Target="../media/image19.png"/><Relationship Id="rId5" Type="http://schemas.openxmlformats.org/officeDocument/2006/relationships/image" Target="../media/image30.png"/><Relationship Id="rId4" Type="http://schemas.openxmlformats.org/officeDocument/2006/relationships/image" Target="../media/image6.emf"/></Relationships>
</file>

<file path=ppt/slideLayouts/_rels/slideLayout5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3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10.emf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4.xml"/><Relationship Id="rId6" Type="http://schemas.openxmlformats.org/officeDocument/2006/relationships/image" Target="../media/image19.png"/><Relationship Id="rId5" Type="http://schemas.openxmlformats.org/officeDocument/2006/relationships/image" Target="../media/image31.png"/><Relationship Id="rId4" Type="http://schemas.openxmlformats.org/officeDocument/2006/relationships/image" Target="../media/image6.emf"/></Relationships>
</file>

<file path=ppt/slideLayouts/_rels/slideLayout5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5.xml"/><Relationship Id="rId6" Type="http://schemas.openxmlformats.org/officeDocument/2006/relationships/image" Target="../media/image29.png"/><Relationship Id="rId5" Type="http://schemas.openxmlformats.org/officeDocument/2006/relationships/image" Target="../media/image24.png"/><Relationship Id="rId4" Type="http://schemas.openxmlformats.org/officeDocument/2006/relationships/image" Target="../media/image6.emf"/></Relationships>
</file>

<file path=ppt/slideLayouts/_rels/slideLayout5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6.xml"/><Relationship Id="rId6" Type="http://schemas.openxmlformats.org/officeDocument/2006/relationships/image" Target="../media/image19.png"/><Relationship Id="rId5" Type="http://schemas.openxmlformats.org/officeDocument/2006/relationships/image" Target="../media/image31.png"/><Relationship Id="rId4" Type="http://schemas.openxmlformats.org/officeDocument/2006/relationships/image" Target="../media/image6.emf"/></Relationships>
</file>

<file path=ppt/slideLayouts/_rels/slideLayout5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7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5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8.xml"/><Relationship Id="rId6" Type="http://schemas.openxmlformats.org/officeDocument/2006/relationships/image" Target="../media/image19.png"/><Relationship Id="rId5" Type="http://schemas.openxmlformats.org/officeDocument/2006/relationships/image" Target="../media/image31.png"/><Relationship Id="rId4" Type="http://schemas.openxmlformats.org/officeDocument/2006/relationships/image" Target="../media/image6.emf"/></Relationships>
</file>

<file path=ppt/slideLayouts/_rels/slideLayout5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9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5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60.xml"/><Relationship Id="rId6" Type="http://schemas.openxmlformats.org/officeDocument/2006/relationships/image" Target="../media/image19.png"/><Relationship Id="rId5" Type="http://schemas.openxmlformats.org/officeDocument/2006/relationships/image" Target="../media/image31.png"/><Relationship Id="rId4" Type="http://schemas.openxmlformats.org/officeDocument/2006/relationships/image" Target="../media/image6.emf"/></Relationships>
</file>

<file path=ppt/slideLayouts/_rels/slideLayout5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5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61.xml"/><Relationship Id="rId4" Type="http://schemas.openxmlformats.org/officeDocument/2006/relationships/image" Target="../media/image6.emf"/></Relationships>
</file>

<file path=ppt/slideLayouts/_rels/slideLayout5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62.xml"/><Relationship Id="rId5" Type="http://schemas.openxmlformats.org/officeDocument/2006/relationships/image" Target="../media/image19.png"/><Relationship Id="rId4" Type="http://schemas.openxmlformats.org/officeDocument/2006/relationships/image" Target="../media/image6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Relationship Id="rId4" Type="http://schemas.openxmlformats.org/officeDocument/2006/relationships/image" Target="../media/image6.emf"/></Relationships>
</file>

<file path=ppt/slideLayouts/_rels/slideLayout5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5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64.xml"/><Relationship Id="rId1" Type="http://schemas.openxmlformats.org/officeDocument/2006/relationships/tags" Target="../tags/tag663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5.bin"/></Relationships>
</file>

<file path=ppt/slideLayouts/_rels/slideLayout5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65.xml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5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66.xml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5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67.xml"/><Relationship Id="rId6" Type="http://schemas.openxmlformats.org/officeDocument/2006/relationships/image" Target="../media/image19.png"/><Relationship Id="rId5" Type="http://schemas.openxmlformats.org/officeDocument/2006/relationships/image" Target="../media/image30.png"/><Relationship Id="rId4" Type="http://schemas.openxmlformats.org/officeDocument/2006/relationships/image" Target="../media/image1.emf"/></Relationships>
</file>

<file path=ppt/slideLayouts/_rels/slideLayout5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69.xml"/><Relationship Id="rId1" Type="http://schemas.openxmlformats.org/officeDocument/2006/relationships/tags" Target="../tags/tag6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70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71.xml"/><Relationship Id="rId4" Type="http://schemas.openxmlformats.org/officeDocument/2006/relationships/image" Target="../media/image1.emf"/></Relationships>
</file>

<file path=ppt/slideLayouts/_rels/slideLayout5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72.xml"/><Relationship Id="rId6" Type="http://schemas.openxmlformats.org/officeDocument/2006/relationships/image" Target="../media/image19.png"/><Relationship Id="rId5" Type="http://schemas.openxmlformats.org/officeDocument/2006/relationships/image" Target="../media/image30.png"/><Relationship Id="rId4" Type="http://schemas.openxmlformats.org/officeDocument/2006/relationships/image" Target="../media/image1.emf"/></Relationships>
</file>

<file path=ppt/slideLayouts/_rels/slideLayout5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73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5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74.xml"/><Relationship Id="rId5" Type="http://schemas.openxmlformats.org/officeDocument/2006/relationships/image" Target="../media/image29.png"/><Relationship Id="rId4" Type="http://schemas.openxmlformats.org/officeDocument/2006/relationships/image" Target="../media/image16.emf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76.xml"/></Relationships>
</file>

<file path=ppt/slideLayouts/_rels/slideLayout5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77.xml"/><Relationship Id="rId1" Type="http://schemas.openxmlformats.org/officeDocument/2006/relationships/themeOverride" Target="../theme/themeOverride10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78.xml"/></Relationships>
</file>

<file path=ppt/slideLayouts/_rels/slideLayout5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79.xml"/><Relationship Id="rId4" Type="http://schemas.openxmlformats.org/officeDocument/2006/relationships/image" Target="../media/image17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Relationship Id="rId4" Type="http://schemas.openxmlformats.org/officeDocument/2006/relationships/image" Target="../media/image6.emf"/></Relationships>
</file>

<file path=ppt/slideLayouts/_rels/slideLayout5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0.xml"/><Relationship Id="rId4" Type="http://schemas.openxmlformats.org/officeDocument/2006/relationships/image" Target="../media/image17.png"/></Relationships>
</file>

<file path=ppt/slideLayouts/_rels/slideLayout5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81.xml"/><Relationship Id="rId1" Type="http://schemas.openxmlformats.org/officeDocument/2006/relationships/themeOverride" Target="../theme/themeOverride11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5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2.xml"/></Relationships>
</file>

<file path=ppt/slideLayouts/_rels/slideLayout5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3.xml"/></Relationships>
</file>

<file path=ppt/slideLayouts/_rels/slideLayout5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4.xml"/><Relationship Id="rId4" Type="http://schemas.openxmlformats.org/officeDocument/2006/relationships/image" Target="../media/image17.png"/></Relationships>
</file>

<file path=ppt/slideLayouts/_rels/slideLayout5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5.xml"/><Relationship Id="rId4" Type="http://schemas.openxmlformats.org/officeDocument/2006/relationships/image" Target="../media/image17.png"/></Relationships>
</file>

<file path=ppt/slideLayouts/_rels/slideLayout5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6.xml"/><Relationship Id="rId4" Type="http://schemas.openxmlformats.org/officeDocument/2006/relationships/image" Target="../media/image17.png"/></Relationships>
</file>

<file path=ppt/slideLayouts/_rels/slideLayout5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7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5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Relationship Id="rId6" Type="http://schemas.openxmlformats.org/officeDocument/2006/relationships/image" Target="../media/image2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5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8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5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9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5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0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5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5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1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5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5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2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5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3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5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4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Relationship Id="rId6" Type="http://schemas.openxmlformats.org/officeDocument/2006/relationships/image" Target="../media/image2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5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5.xml"/><Relationship Id="rId4" Type="http://schemas.openxmlformats.org/officeDocument/2006/relationships/image" Target="../media/image17.png"/></Relationships>
</file>

<file path=ppt/slideLayouts/_rels/slideLayout5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6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5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7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5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8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5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9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5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0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5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1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Relationship Id="rId6" Type="http://schemas.openxmlformats.org/officeDocument/2006/relationships/image" Target="../media/image2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5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2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5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3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5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4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5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5.xml"/><Relationship Id="rId4" Type="http://schemas.openxmlformats.org/officeDocument/2006/relationships/image" Target="../media/image17.png"/></Relationships>
</file>

<file path=ppt/slideLayouts/_rels/slideLayout5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6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5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7.xml"/><Relationship Id="rId4" Type="http://schemas.openxmlformats.org/officeDocument/2006/relationships/image" Target="../media/image17.png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5.jpe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Relationship Id="rId6" Type="http://schemas.openxmlformats.org/officeDocument/2006/relationships/image" Target="../media/image4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8.xml"/></Relationships>
</file>

<file path=ppt/slideLayouts/_rels/slideLayout6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6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9.xml"/></Relationships>
</file>

<file path=ppt/slideLayouts/_rels/slideLayout6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11.xml"/><Relationship Id="rId1" Type="http://schemas.openxmlformats.org/officeDocument/2006/relationships/tags" Target="../tags/tag710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Relationship Id="rId6" Type="http://schemas.openxmlformats.org/officeDocument/2006/relationships/image" Target="../media/image4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6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12.xml"/></Relationships>
</file>

<file path=ppt/slideLayouts/_rels/slideLayout6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Relationship Id="rId6" Type="http://schemas.openxmlformats.org/officeDocument/2006/relationships/image" Target="../media/image4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6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6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6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Relationship Id="rId6" Type="http://schemas.openxmlformats.org/officeDocument/2006/relationships/image" Target="../media/image2.png"/><Relationship Id="rId5" Type="http://schemas.openxmlformats.org/officeDocument/2006/relationships/image" Target="../media/image8.png"/><Relationship Id="rId4" Type="http://schemas.openxmlformats.org/officeDocument/2006/relationships/image" Target="../media/image10.emf"/></Relationships>
</file>

<file path=ppt/slideLayouts/_rels/slideLayout6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Relationship Id="rId6" Type="http://schemas.openxmlformats.org/officeDocument/2006/relationships/image" Target="../media/image4.png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Layouts/_rels/slideLayout6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13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6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6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6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14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6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15.xml"/><Relationship Id="rId4" Type="http://schemas.openxmlformats.org/officeDocument/2006/relationships/image" Target="../media/image17.png"/></Relationships>
</file>

<file path=ppt/slideLayouts/_rels/slideLayout6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1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Relationship Id="rId6" Type="http://schemas.openxmlformats.org/officeDocument/2006/relationships/image" Target="../media/image2.png"/><Relationship Id="rId5" Type="http://schemas.openxmlformats.org/officeDocument/2006/relationships/image" Target="../media/image11.png"/><Relationship Id="rId4" Type="http://schemas.openxmlformats.org/officeDocument/2006/relationships/image" Target="../media/image6.emf"/></Relationships>
</file>

<file path=ppt/slideLayouts/_rels/slideLayout6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17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6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18.xml"/><Relationship Id="rId4" Type="http://schemas.openxmlformats.org/officeDocument/2006/relationships/image" Target="../media/image17.png"/></Relationships>
</file>

<file path=ppt/slideLayouts/_rels/slideLayout6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19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6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0.xml"/><Relationship Id="rId4" Type="http://schemas.openxmlformats.org/officeDocument/2006/relationships/image" Target="../media/image17.png"/></Relationships>
</file>

<file path=ppt/slideLayouts/_rels/slideLayout6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1.xml"/></Relationships>
</file>

<file path=ppt/slideLayouts/_rels/slideLayout6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2.xml"/></Relationships>
</file>

<file path=ppt/slideLayouts/_rels/slideLayout6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3.xml"/><Relationship Id="rId4" Type="http://schemas.openxmlformats.org/officeDocument/2006/relationships/image" Target="../media/image17.png"/></Relationships>
</file>

<file path=ppt/slideLayouts/_rels/slideLayout6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4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6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5.xml"/><Relationship Id="rId4" Type="http://schemas.openxmlformats.org/officeDocument/2006/relationships/image" Target="../media/image17.png"/></Relationships>
</file>

<file path=ppt/slideLayouts/_rels/slideLayout6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Relationship Id="rId6" Type="http://schemas.openxmlformats.org/officeDocument/2006/relationships/image" Target="../media/image4.png"/><Relationship Id="rId5" Type="http://schemas.openxmlformats.org/officeDocument/2006/relationships/image" Target="../media/image12.png"/><Relationship Id="rId4" Type="http://schemas.openxmlformats.org/officeDocument/2006/relationships/image" Target="../media/image6.emf"/></Relationships>
</file>

<file path=ppt/slideLayouts/_rels/slideLayout6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7.xml"/></Relationships>
</file>

<file path=ppt/slideLayouts/_rels/slideLayout6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8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6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9.xml"/></Relationships>
</file>

<file path=ppt/slideLayouts/_rels/slideLayout6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31.xml"/><Relationship Id="rId1" Type="http://schemas.openxmlformats.org/officeDocument/2006/relationships/tags" Target="../tags/tag730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6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32.xml"/><Relationship Id="rId4" Type="http://schemas.openxmlformats.org/officeDocument/2006/relationships/image" Target="../media/image17.png"/></Relationships>
</file>

<file path=ppt/slideLayouts/_rels/slideLayout6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33.xml"/><Relationship Id="rId4" Type="http://schemas.openxmlformats.org/officeDocument/2006/relationships/image" Target="../media/image17.png"/></Relationships>
</file>

<file path=ppt/slideLayouts/_rels/slideLayout6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34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6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36.xml"/><Relationship Id="rId1" Type="http://schemas.openxmlformats.org/officeDocument/2006/relationships/tags" Target="../tags/tag735.xml"/><Relationship Id="rId4" Type="http://schemas.openxmlformats.org/officeDocument/2006/relationships/image" Target="../media/image17.png"/></Relationships>
</file>

<file path=ppt/slideLayouts/_rels/slideLayout6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37.xml"/></Relationships>
</file>

<file path=ppt/slideLayouts/_rels/slideLayout6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38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5.xml"/><Relationship Id="rId6" Type="http://schemas.openxmlformats.org/officeDocument/2006/relationships/image" Target="../media/image2.png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6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39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6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40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6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41.xml"/><Relationship Id="rId4" Type="http://schemas.openxmlformats.org/officeDocument/2006/relationships/image" Target="../media/image17.png"/></Relationships>
</file>

<file path=ppt/slideLayouts/_rels/slideLayout6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43.xml"/><Relationship Id="rId1" Type="http://schemas.openxmlformats.org/officeDocument/2006/relationships/tags" Target="../tags/tag742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6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44.xml"/><Relationship Id="rId4" Type="http://schemas.openxmlformats.org/officeDocument/2006/relationships/image" Target="../media/image17.png"/></Relationships>
</file>

<file path=ppt/slideLayouts/_rels/slideLayout6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45.xml"/><Relationship Id="rId4" Type="http://schemas.openxmlformats.org/officeDocument/2006/relationships/image" Target="../media/image17.png"/></Relationships>
</file>

<file path=ppt/slideLayouts/_rels/slideLayout6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46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6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48.xml"/><Relationship Id="rId1" Type="http://schemas.openxmlformats.org/officeDocument/2006/relationships/tags" Target="../tags/tag747.xml"/><Relationship Id="rId4" Type="http://schemas.openxmlformats.org/officeDocument/2006/relationships/image" Target="../media/image17.png"/></Relationships>
</file>

<file path=ppt/slideLayouts/_rels/slideLayout6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49.xml"/></Relationships>
</file>

<file path=ppt/slideLayouts/_rels/slideLayout6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50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6.xml"/><Relationship Id="rId6" Type="http://schemas.openxmlformats.org/officeDocument/2006/relationships/image" Target="../media/image4.png"/><Relationship Id="rId5" Type="http://schemas.openxmlformats.org/officeDocument/2006/relationships/image" Target="../media/image13.png"/><Relationship Id="rId4" Type="http://schemas.openxmlformats.org/officeDocument/2006/relationships/image" Target="../media/image6.emf"/></Relationships>
</file>

<file path=ppt/slideLayouts/_rels/slideLayout6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51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6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52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6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53.xml"/><Relationship Id="rId4" Type="http://schemas.openxmlformats.org/officeDocument/2006/relationships/image" Target="../media/image17.png"/></Relationships>
</file>

<file path=ppt/slideLayouts/_rels/slideLayout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55.xml"/><Relationship Id="rId1" Type="http://schemas.openxmlformats.org/officeDocument/2006/relationships/tags" Target="../tags/tag754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6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57.xml"/><Relationship Id="rId1" Type="http://schemas.openxmlformats.org/officeDocument/2006/relationships/tags" Target="../tags/tag756.xml"/><Relationship Id="rId6" Type="http://schemas.openxmlformats.org/officeDocument/2006/relationships/image" Target="../media/image17.png"/><Relationship Id="rId5" Type="http://schemas.openxmlformats.org/officeDocument/2006/relationships/image" Target="../media/image2.png"/><Relationship Id="rId4" Type="http://schemas.openxmlformats.org/officeDocument/2006/relationships/image" Target="../media/image7.png"/></Relationships>
</file>

<file path=ppt/slideLayouts/_rels/slideLayout6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59.xml"/><Relationship Id="rId1" Type="http://schemas.openxmlformats.org/officeDocument/2006/relationships/tags" Target="../tags/tag758.xml"/><Relationship Id="rId6" Type="http://schemas.openxmlformats.org/officeDocument/2006/relationships/image" Target="../media/image17.png"/><Relationship Id="rId5" Type="http://schemas.openxmlformats.org/officeDocument/2006/relationships/image" Target="../media/image2.png"/><Relationship Id="rId4" Type="http://schemas.openxmlformats.org/officeDocument/2006/relationships/image" Target="../media/image7.png"/></Relationships>
</file>

<file path=ppt/slideLayouts/_rels/slideLayout6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60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6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62.xml"/><Relationship Id="rId1" Type="http://schemas.openxmlformats.org/officeDocument/2006/relationships/tags" Target="../tags/tag761.xml"/><Relationship Id="rId6" Type="http://schemas.openxmlformats.org/officeDocument/2006/relationships/image" Target="../media/image17.png"/><Relationship Id="rId5" Type="http://schemas.openxmlformats.org/officeDocument/2006/relationships/image" Target="../media/image4.png"/><Relationship Id="rId4" Type="http://schemas.openxmlformats.org/officeDocument/2006/relationships/image" Target="../media/image7.png"/></Relationships>
</file>

<file path=ppt/slideLayouts/_rels/slideLayout6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64.xml"/><Relationship Id="rId1" Type="http://schemas.openxmlformats.org/officeDocument/2006/relationships/tags" Target="../tags/tag763.xml"/><Relationship Id="rId6" Type="http://schemas.openxmlformats.org/officeDocument/2006/relationships/image" Target="../media/image17.png"/><Relationship Id="rId5" Type="http://schemas.openxmlformats.org/officeDocument/2006/relationships/image" Target="../media/image4.png"/><Relationship Id="rId4" Type="http://schemas.openxmlformats.org/officeDocument/2006/relationships/image" Target="../media/image7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7.xml"/><Relationship Id="rId6" Type="http://schemas.openxmlformats.org/officeDocument/2006/relationships/image" Target="../media/image2.png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6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66.xml"/><Relationship Id="rId1" Type="http://schemas.openxmlformats.org/officeDocument/2006/relationships/tags" Target="../tags/tag765.xml"/><Relationship Id="rId6" Type="http://schemas.openxmlformats.org/officeDocument/2006/relationships/image" Target="../media/image17.png"/><Relationship Id="rId5" Type="http://schemas.openxmlformats.org/officeDocument/2006/relationships/image" Target="../media/image2.png"/><Relationship Id="rId4" Type="http://schemas.openxmlformats.org/officeDocument/2006/relationships/image" Target="../media/image8.png"/></Relationships>
</file>

<file path=ppt/slideLayouts/_rels/slideLayout6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68.xml"/><Relationship Id="rId1" Type="http://schemas.openxmlformats.org/officeDocument/2006/relationships/tags" Target="../tags/tag767.xml"/><Relationship Id="rId6" Type="http://schemas.openxmlformats.org/officeDocument/2006/relationships/image" Target="../media/image17.png"/><Relationship Id="rId5" Type="http://schemas.openxmlformats.org/officeDocument/2006/relationships/image" Target="../media/image2.png"/><Relationship Id="rId4" Type="http://schemas.openxmlformats.org/officeDocument/2006/relationships/image" Target="../media/image11.png"/></Relationships>
</file>

<file path=ppt/slideLayouts/_rels/slideLayout6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70.xml"/><Relationship Id="rId1" Type="http://schemas.openxmlformats.org/officeDocument/2006/relationships/tags" Target="../tags/tag769.xml"/><Relationship Id="rId6" Type="http://schemas.openxmlformats.org/officeDocument/2006/relationships/image" Target="../media/image17.png"/><Relationship Id="rId5" Type="http://schemas.openxmlformats.org/officeDocument/2006/relationships/image" Target="../media/image4.png"/><Relationship Id="rId4" Type="http://schemas.openxmlformats.org/officeDocument/2006/relationships/image" Target="../media/image12.png"/></Relationships>
</file>

<file path=ppt/slideLayouts/_rels/slideLayout6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72.xml"/><Relationship Id="rId1" Type="http://schemas.openxmlformats.org/officeDocument/2006/relationships/tags" Target="../tags/tag771.xml"/><Relationship Id="rId6" Type="http://schemas.openxmlformats.org/officeDocument/2006/relationships/image" Target="../media/image17.png"/><Relationship Id="rId5" Type="http://schemas.openxmlformats.org/officeDocument/2006/relationships/image" Target="../media/image2.png"/><Relationship Id="rId4" Type="http://schemas.openxmlformats.org/officeDocument/2006/relationships/image" Target="../media/image8.png"/></Relationships>
</file>

<file path=ppt/slideLayouts/_rels/slideLayout6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74.xml"/><Relationship Id="rId1" Type="http://schemas.openxmlformats.org/officeDocument/2006/relationships/tags" Target="../tags/tag773.xml"/><Relationship Id="rId6" Type="http://schemas.openxmlformats.org/officeDocument/2006/relationships/image" Target="../media/image17.png"/><Relationship Id="rId5" Type="http://schemas.openxmlformats.org/officeDocument/2006/relationships/image" Target="../media/image4.png"/><Relationship Id="rId4" Type="http://schemas.openxmlformats.org/officeDocument/2006/relationships/image" Target="../media/image13.png"/></Relationships>
</file>

<file path=ppt/slideLayouts/_rels/slideLayout6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76.xml"/><Relationship Id="rId1" Type="http://schemas.openxmlformats.org/officeDocument/2006/relationships/tags" Target="../tags/tag775.xml"/><Relationship Id="rId6" Type="http://schemas.openxmlformats.org/officeDocument/2006/relationships/image" Target="../media/image17.png"/><Relationship Id="rId5" Type="http://schemas.openxmlformats.org/officeDocument/2006/relationships/image" Target="../media/image2.png"/><Relationship Id="rId4" Type="http://schemas.openxmlformats.org/officeDocument/2006/relationships/image" Target="../media/image8.png"/></Relationships>
</file>

<file path=ppt/slideLayouts/_rels/slideLayout6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78.xml"/><Relationship Id="rId1" Type="http://schemas.openxmlformats.org/officeDocument/2006/relationships/tags" Target="../tags/tag777.xml"/><Relationship Id="rId6" Type="http://schemas.openxmlformats.org/officeDocument/2006/relationships/image" Target="../media/image17.png"/><Relationship Id="rId5" Type="http://schemas.openxmlformats.org/officeDocument/2006/relationships/image" Target="../media/image4.png"/><Relationship Id="rId4" Type="http://schemas.openxmlformats.org/officeDocument/2006/relationships/image" Target="../media/image13.png"/></Relationships>
</file>

<file path=ppt/slideLayouts/_rels/slideLayout6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80.xml"/><Relationship Id="rId1" Type="http://schemas.openxmlformats.org/officeDocument/2006/relationships/tags" Target="../tags/tag779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6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82.xml"/><Relationship Id="rId1" Type="http://schemas.openxmlformats.org/officeDocument/2006/relationships/tags" Target="../tags/tag781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6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84.xml"/><Relationship Id="rId1" Type="http://schemas.openxmlformats.org/officeDocument/2006/relationships/tags" Target="../tags/tag783.xml"/><Relationship Id="rId6" Type="http://schemas.openxmlformats.org/officeDocument/2006/relationships/image" Target="../media/image17.png"/><Relationship Id="rId5" Type="http://schemas.openxmlformats.org/officeDocument/2006/relationships/image" Target="../media/image4.png"/><Relationship Id="rId4" Type="http://schemas.openxmlformats.org/officeDocument/2006/relationships/image" Target="../media/image14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3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8.xml"/><Relationship Id="rId6" Type="http://schemas.openxmlformats.org/officeDocument/2006/relationships/image" Target="../media/image4.png"/><Relationship Id="rId5" Type="http://schemas.openxmlformats.org/officeDocument/2006/relationships/image" Target="../media/image13.png"/><Relationship Id="rId4" Type="http://schemas.openxmlformats.org/officeDocument/2006/relationships/image" Target="../media/image6.emf"/></Relationships>
</file>

<file path=ppt/slideLayouts/_rels/slideLayout7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86.xml"/><Relationship Id="rId1" Type="http://schemas.openxmlformats.org/officeDocument/2006/relationships/tags" Target="../tags/tag785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7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87.xml"/></Relationships>
</file>

<file path=ppt/slideLayouts/_rels/slideLayout7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88.xml"/><Relationship Id="rId4" Type="http://schemas.openxmlformats.org/officeDocument/2006/relationships/image" Target="../media/image17.png"/></Relationships>
</file>

<file path=ppt/slideLayouts/_rels/slideLayout7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89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7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0.xml"/></Relationships>
</file>

<file path=ppt/slideLayouts/_rels/slideLayout7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1.xml"/></Relationships>
</file>

<file path=ppt/slideLayouts/_rels/slideLayout7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2.xml"/><Relationship Id="rId4" Type="http://schemas.openxmlformats.org/officeDocument/2006/relationships/image" Target="../media/image17.png"/></Relationships>
</file>

<file path=ppt/slideLayouts/_rels/slideLayout7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3.xml"/></Relationships>
</file>

<file path=ppt/slideLayouts/_rels/slideLayout7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4.xml"/></Relationships>
</file>

<file path=ppt/slideLayouts/_rels/slideLayout7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5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6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7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7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7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8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7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9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7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0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7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1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7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2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7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3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7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4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7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5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9.xml"/><Relationship Id="rId4" Type="http://schemas.openxmlformats.org/officeDocument/2006/relationships/image" Target="../media/image6.emf"/></Relationships>
</file>

<file path=ppt/slideLayouts/_rels/slideLayout7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6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7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7.xml"/></Relationships>
</file>

<file path=ppt/slideLayouts/_rels/slideLayout7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8.xml"/></Relationships>
</file>

<file path=ppt/slideLayouts/_rels/slideLayout7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9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7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10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7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11.xml"/><Relationship Id="rId4" Type="http://schemas.openxmlformats.org/officeDocument/2006/relationships/image" Target="../media/image17.png"/></Relationships>
</file>

<file path=ppt/slideLayouts/_rels/slideLayout7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12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7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13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7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14.xml"/><Relationship Id="rId4" Type="http://schemas.openxmlformats.org/officeDocument/2006/relationships/image" Target="../media/image17.png"/></Relationships>
</file>

<file path=ppt/slideLayouts/_rels/slideLayout7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8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0.bin"/></Relationships>
</file>

<file path=ppt/slideLayouts/_rels/slideLayout7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/Relationships>
</file>

<file path=ppt/slideLayouts/_rels/slideLayout7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1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2.xml"/><Relationship Id="rId6" Type="http://schemas.openxmlformats.org/officeDocument/2006/relationships/image" Target="../media/image4.png"/><Relationship Id="rId5" Type="http://schemas.openxmlformats.org/officeDocument/2006/relationships/image" Target="../media/image12.png"/><Relationship Id="rId4" Type="http://schemas.openxmlformats.org/officeDocument/2006/relationships/image" Target="../media/image6.emf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7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5.xml"/><Relationship Id="rId4" Type="http://schemas.openxmlformats.org/officeDocument/2006/relationships/image" Target="../media/image5.jpe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5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8.bin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1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5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2.xml"/><Relationship Id="rId5" Type="http://schemas.openxmlformats.org/officeDocument/2006/relationships/image" Target="../media/image5.jpeg"/><Relationship Id="rId4" Type="http://schemas.openxmlformats.org/officeDocument/2006/relationships/image" Target="../media/image2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3.xml"/><Relationship Id="rId4" Type="http://schemas.openxmlformats.org/officeDocument/2006/relationships/image" Target="../media/image5.jpe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5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0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8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11.xml"/><Relationship Id="rId7" Type="http://schemas.openxmlformats.org/officeDocument/2006/relationships/image" Target="../media/image4.png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5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7" Type="http://schemas.openxmlformats.org/officeDocument/2006/relationships/image" Target="../media/image5.jpeg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image" Target="../media/image2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0.bin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32.xml"/><Relationship Id="rId7" Type="http://schemas.openxmlformats.org/officeDocument/2006/relationships/image" Target="../media/image4.png"/><Relationship Id="rId2" Type="http://schemas.openxmlformats.org/officeDocument/2006/relationships/tags" Target="../tags/tag131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image" Target="../media/image1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256DD11-030E-4276-B7F9-8800AF6ADF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  <a:endParaRPr lang="en-IN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780C3700-E3C2-478C-8875-962D0768B7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077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07C621B-ED76-E53B-0043-0D768F640AA4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3882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header box">
    <p:bg bwMode="gray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0BF56D4-B310-9819-70DA-20B188CC0C1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808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8880E3D-E585-6271-B805-8E14AA53F9C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613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line">
    <p:bg bwMode="black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B33C809-71F9-17FC-D6B9-1EE5E63AF70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8939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606C798-40AD-5A56-4FFD-CB1F8C21688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7836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half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B78FE70-ADC3-F2CF-CE94-9554B562AA0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9103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two third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81CC2D0-A68F-DA4D-7859-8839BE51FDFE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0577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6844B9B-4A74-3C0F-7DB2-F1D96016F36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006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AB9F15A-AEA9-C779-4016-955A09306444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0796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DFEFC1B-606F-0A66-A959-8764256B148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8846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6BC1DFD-B8B3-5774-A91A-8F0BB6823D0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432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6588E9D-ED9F-FF74-FBB8-21345D8A059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336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5E840FA-3EC7-D912-7EF2-F9E5DBA8E63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96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F90FA3-99B6-C9F9-B8B8-2E27B062F1D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9434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D7E7CA2-3F54-5A56-25C1-7DFE05867B9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4099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1B21896-EAB5-4C84-9777-D571923E58A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218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9EC08D2-06A5-994E-E860-9FC10E65342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5755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AEBEAFB-A37D-F161-149A-230A6BD71BC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349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B1129B2-5706-A8A0-7CDD-E7E2F79B74E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349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11" b="-40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70BA20F-1828-02F0-A715-FDB384BE550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625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6CCCB5E-9443-D579-AAE7-913AE596B59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666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F85A58E-D75D-5D70-FC81-2C42B9D8790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9936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B33C809-71F9-17FC-D6B9-1EE5E63AF70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5885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5" name="Freeform 54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5678521 h 6858000"/>
                <a:gd name="connsiteX2" fmla="*/ 629400 w 12193200"/>
                <a:gd name="connsiteY2" fmla="*/ 5678521 h 6858000"/>
                <a:gd name="connsiteX3" fmla="*/ 629400 w 12193200"/>
                <a:gd name="connsiteY3" fmla="*/ 6583680 h 6858000"/>
                <a:gd name="connsiteX4" fmla="*/ 11562600 w 12193200"/>
                <a:gd name="connsiteY4" fmla="*/ 6583680 h 6858000"/>
                <a:gd name="connsiteX5" fmla="*/ 11562600 w 12193200"/>
                <a:gd name="connsiteY5" fmla="*/ 5678521 h 6858000"/>
                <a:gd name="connsiteX6" fmla="*/ 11562000 w 12193200"/>
                <a:gd name="connsiteY6" fmla="*/ 567852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5678521"/>
                  </a:lnTo>
                  <a:lnTo>
                    <a:pt x="629400" y="5678521"/>
                  </a:lnTo>
                  <a:lnTo>
                    <a:pt x="629400" y="6583680"/>
                  </a:lnTo>
                  <a:lnTo>
                    <a:pt x="11562600" y="6583680"/>
                  </a:lnTo>
                  <a:lnTo>
                    <a:pt x="11562600" y="5678521"/>
                  </a:lnTo>
                  <a:lnTo>
                    <a:pt x="11562000" y="567852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  <a:alpha val="5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6" name="Group 55"/>
            <p:cNvGrpSpPr/>
            <p:nvPr/>
          </p:nvGrpSpPr>
          <p:grpSpPr>
            <a:xfrm>
              <a:off x="-600" y="622800"/>
              <a:ext cx="12193200" cy="5055720"/>
              <a:chOff x="-600" y="622800"/>
              <a:chExt cx="12193200" cy="5055720"/>
            </a:xfrm>
          </p:grpSpPr>
          <p:cxnSp>
            <p:nvCxnSpPr>
              <p:cNvPr id="116" name="Straight Connector 115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/>
            </p:nvCxnSpPr>
            <p:spPr>
              <a:xfrm>
                <a:off x="-600" y="92019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/>
            </p:nvCxnSpPr>
            <p:spPr>
              <a:xfrm>
                <a:off x="-600" y="121759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/>
            </p:nvCxnSpPr>
            <p:spPr>
              <a:xfrm>
                <a:off x="-600" y="151498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/>
            </p:nvCxnSpPr>
            <p:spPr>
              <a:xfrm>
                <a:off x="-600" y="181238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/>
            </p:nvCxnSpPr>
            <p:spPr>
              <a:xfrm>
                <a:off x="-600" y="210977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/>
            </p:nvCxnSpPr>
            <p:spPr>
              <a:xfrm>
                <a:off x="-600" y="240717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/>
            </p:nvCxnSpPr>
            <p:spPr>
              <a:xfrm>
                <a:off x="-600" y="27045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/>
            </p:nvCxnSpPr>
            <p:spPr>
              <a:xfrm>
                <a:off x="-600" y="300196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/>
            </p:nvCxnSpPr>
            <p:spPr>
              <a:xfrm>
                <a:off x="-600" y="32993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/>
            </p:nvCxnSpPr>
            <p:spPr>
              <a:xfrm>
                <a:off x="-600" y="359675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/>
            </p:nvCxnSpPr>
            <p:spPr>
              <a:xfrm>
                <a:off x="-600" y="389414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-600" y="419154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-600" y="448893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-600" y="478633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-600" y="508372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/>
            </p:nvCxnSpPr>
            <p:spPr>
              <a:xfrm>
                <a:off x="-600" y="53811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/>
            </p:nvCxnSpPr>
            <p:spPr>
              <a:xfrm>
                <a:off x="-600" y="56785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3" name="Group 92"/>
            <p:cNvGrpSpPr/>
            <p:nvPr/>
          </p:nvGrpSpPr>
          <p:grpSpPr>
            <a:xfrm>
              <a:off x="629400" y="623550"/>
              <a:ext cx="10933200" cy="5054970"/>
              <a:chOff x="629400" y="623550"/>
              <a:chExt cx="10933200" cy="5537047"/>
            </a:xfrm>
          </p:grpSpPr>
          <p:sp>
            <p:nvSpPr>
              <p:cNvPr id="100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4" name="Group 93"/>
            <p:cNvGrpSpPr/>
            <p:nvPr/>
          </p:nvGrpSpPr>
          <p:grpSpPr>
            <a:xfrm>
              <a:off x="-600" y="0"/>
              <a:ext cx="12193200" cy="6858000"/>
              <a:chOff x="-600" y="0"/>
              <a:chExt cx="12193200" cy="6858000"/>
            </a:xfrm>
          </p:grpSpPr>
          <p:sp>
            <p:nvSpPr>
              <p:cNvPr id="95" name="Slide edges"/>
              <p:cNvSpPr>
                <a:spLocks/>
              </p:cNvSpPr>
              <p:nvPr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96" name="Footnote measure"/>
              <p:cNvSpPr>
                <a:spLocks noChangeArrowheads="1"/>
              </p:cNvSpPr>
              <p:nvPr/>
            </p:nvSpPr>
            <p:spPr bwMode="auto">
              <a:xfrm>
                <a:off x="629400" y="5678521"/>
                <a:ext cx="10933200" cy="905159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Whitespace measure"/>
              <p:cNvSpPr>
                <a:spLocks noChangeArrowheads="1"/>
              </p:cNvSpPr>
              <p:nvPr/>
            </p:nvSpPr>
            <p:spPr bwMode="auto">
              <a:xfrm>
                <a:off x="629400" y="1514985"/>
                <a:ext cx="10932229" cy="59479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Live area"/>
              <p:cNvSpPr/>
              <p:nvPr/>
            </p:nvSpPr>
            <p:spPr>
              <a:xfrm>
                <a:off x="629400" y="2109775"/>
                <a:ext cx="10933200" cy="3568747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D1B24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Footnote example"/>
              <p:cNvSpPr txBox="1"/>
              <p:nvPr/>
            </p:nvSpPr>
            <p:spPr>
              <a:xfrm>
                <a:off x="630000" y="5678521"/>
                <a:ext cx="9030914" cy="3323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1. xxxx  2. xxxx  3. List footnotes in numerical order. Footnote numbers are not bracketed. Use 8pt font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Note: Do not put a period at the end of the note or the source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Source: Include a source for every chart that you use. Separate sources with a semicolon; BCG-related sources go at the end</a:t>
                </a: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sym typeface="Trebuchet MS" panose="020B0603020202020204" pitchFamily="34" charset="0"/>
                </a:endParaRPr>
              </a:p>
            </p:txBody>
          </p:sp>
        </p:grp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DD80BFC9-733C-8AC6-C9DC-C6978C63503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968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256DD11-030E-4276-B7F9-8800AF6ADF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  <a:endParaRPr lang="en-IN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80C3700-E3C2-478C-8875-962D0768B7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72ACFA5-99E3-D763-1984-AD5ABE628052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0257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D9F3F62-C0AA-1FC3-9A57-A04C8C535F8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178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2B105E2-EEF0-5C8D-7A4D-720546A7E9D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01392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304C088-E5EB-C4A3-24A7-3D13A5BD239C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100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2FE76C8-5F01-9D2C-61B0-C9A0AFC4029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2234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39F02C2-029F-C4D7-1E33-63057B97C5B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4806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11" b="-40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1CB14D6-3D48-47EE-0366-1C8401CA6F2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468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89EEBE2-62D5-EAEF-00AF-E6F66660830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6480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6C1DD9F-8B95-EF2F-8DBB-3FA0E8C1ED5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3095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606C798-40AD-5A56-4FFD-CB1F8C21688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1288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. 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95A91F7-0507-E38E-9676-1BE1FAE12CC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9533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DE8554-56E2-E0B3-30C2-084750FD492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4528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3B1810B-FC30-F127-3495-6BED909646DA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7173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Rectangle 1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EF2427">
                  <a:shade val="30000"/>
                  <a:satMod val="115000"/>
                  <a:alpha val="76000"/>
                </a:srgbClr>
              </a:gs>
              <a:gs pos="100000">
                <a:srgbClr val="ED1B24">
                  <a:alpha val="61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2328" y="2992637"/>
            <a:ext cx="3062417" cy="79672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EBDB73F-CDDF-FB9B-C304-7CE8A6085959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127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9" name="Freeform 48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5678521 h 6858000"/>
                <a:gd name="connsiteX2" fmla="*/ 629400 w 12193200"/>
                <a:gd name="connsiteY2" fmla="*/ 5678521 h 6858000"/>
                <a:gd name="connsiteX3" fmla="*/ 629400 w 12193200"/>
                <a:gd name="connsiteY3" fmla="*/ 6583680 h 6858000"/>
                <a:gd name="connsiteX4" fmla="*/ 11562600 w 12193200"/>
                <a:gd name="connsiteY4" fmla="*/ 6583680 h 6858000"/>
                <a:gd name="connsiteX5" fmla="*/ 11562600 w 12193200"/>
                <a:gd name="connsiteY5" fmla="*/ 5678521 h 6858000"/>
                <a:gd name="connsiteX6" fmla="*/ 11562000 w 12193200"/>
                <a:gd name="connsiteY6" fmla="*/ 567852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5678521"/>
                  </a:lnTo>
                  <a:lnTo>
                    <a:pt x="629400" y="5678521"/>
                  </a:lnTo>
                  <a:lnTo>
                    <a:pt x="629400" y="6583680"/>
                  </a:lnTo>
                  <a:lnTo>
                    <a:pt x="11562600" y="6583680"/>
                  </a:lnTo>
                  <a:lnTo>
                    <a:pt x="11562600" y="5678521"/>
                  </a:lnTo>
                  <a:lnTo>
                    <a:pt x="11562000" y="567852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  <a:alpha val="5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0" name="Group 49"/>
            <p:cNvGrpSpPr/>
            <p:nvPr/>
          </p:nvGrpSpPr>
          <p:grpSpPr>
            <a:xfrm>
              <a:off x="-600" y="622800"/>
              <a:ext cx="12193200" cy="5055720"/>
              <a:chOff x="-600" y="622800"/>
              <a:chExt cx="12193200" cy="5055720"/>
            </a:xfrm>
          </p:grpSpPr>
          <p:cxnSp>
            <p:nvCxnSpPr>
              <p:cNvPr id="74" name="Straight Connector 73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/>
            </p:nvCxnSpPr>
            <p:spPr>
              <a:xfrm>
                <a:off x="-600" y="92019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/>
            </p:nvCxnSpPr>
            <p:spPr>
              <a:xfrm>
                <a:off x="-600" y="121759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/>
            </p:nvCxnSpPr>
            <p:spPr>
              <a:xfrm>
                <a:off x="-600" y="151498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-600" y="181238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-600" y="210977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-600" y="240717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-600" y="27045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-600" y="300196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-600" y="32993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-600" y="359675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-600" y="389414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-600" y="419154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-600" y="448893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-600" y="478633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-600" y="508372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-600" y="53811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-600" y="56785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/>
          </p:nvGrpSpPr>
          <p:grpSpPr>
            <a:xfrm>
              <a:off x="629400" y="623550"/>
              <a:ext cx="10933200" cy="5054970"/>
              <a:chOff x="629400" y="623550"/>
              <a:chExt cx="10933200" cy="5537047"/>
            </a:xfrm>
          </p:grpSpPr>
          <p:sp>
            <p:nvSpPr>
              <p:cNvPr id="58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-600" y="0"/>
              <a:ext cx="12193200" cy="6858000"/>
              <a:chOff x="-600" y="0"/>
              <a:chExt cx="12193200" cy="6858000"/>
            </a:xfrm>
          </p:grpSpPr>
          <p:sp>
            <p:nvSpPr>
              <p:cNvPr id="53" name="Slide edges"/>
              <p:cNvSpPr>
                <a:spLocks/>
              </p:cNvSpPr>
              <p:nvPr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54" name="Footnote measure"/>
              <p:cNvSpPr>
                <a:spLocks noChangeArrowheads="1"/>
              </p:cNvSpPr>
              <p:nvPr/>
            </p:nvSpPr>
            <p:spPr bwMode="auto">
              <a:xfrm>
                <a:off x="629400" y="5678521"/>
                <a:ext cx="10933200" cy="905159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Whitespace measure"/>
              <p:cNvSpPr>
                <a:spLocks noChangeArrowheads="1"/>
              </p:cNvSpPr>
              <p:nvPr/>
            </p:nvSpPr>
            <p:spPr bwMode="auto">
              <a:xfrm>
                <a:off x="629400" y="1514985"/>
                <a:ext cx="10932229" cy="59479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Live area"/>
              <p:cNvSpPr/>
              <p:nvPr/>
            </p:nvSpPr>
            <p:spPr>
              <a:xfrm>
                <a:off x="629400" y="2109775"/>
                <a:ext cx="10933200" cy="3568747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D1B24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Footnote example"/>
              <p:cNvSpPr txBox="1"/>
              <p:nvPr/>
            </p:nvSpPr>
            <p:spPr>
              <a:xfrm>
                <a:off x="630000" y="5678521"/>
                <a:ext cx="9030914" cy="3323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1. xxxx  2. xxxx  3. List footnotes in numerical order. Footnote numbers are not bracketed. Use 8pt font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Note: Do not put a period at the end of the note or the source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Source: Include a source for every chart that you use. Separate sources with a semicolon; BCG-related sources go at the end</a:t>
                </a: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sym typeface="Trebuchet MS" panose="020B0603020202020204" pitchFamily="34" charset="0"/>
                </a:endParaRPr>
              </a:p>
            </p:txBody>
          </p:sp>
        </p:grp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C47D6532-6E04-D5F1-51B1-5FCF226B9A7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38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Section Header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C896B0F-E34B-2924-1144-E8C7AE031F45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4656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Agenda Section Header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7925EB2-FFDB-C784-EEE6-655F380D4B8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91303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Full Width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75E17A3-930F-B2F1-B0E8-7E9C43EB1246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59070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DA41B9E-9C41-8AA4-9B86-5A5172D07B3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7679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58D35F5-9430-F3AE-42E7-F16E436AD268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1573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7128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7385946-D1F3-8DA3-1863-31DACF18C6A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8390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C1EE702-C2FC-4A09-76D9-83F169A1D37E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574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D.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1234189-BA76-1722-A4A9-6846A2D6AA36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66308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47113C5-E7A6-812A-E930-D79C5682A40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7049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4DB36A4-3C22-4171-A7C0-131095FDCC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4DB36A4-3C22-4171-A7C0-131095FDCC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1" y="-1309"/>
            <a:ext cx="3252485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8C8680F0-21E4-46C4-A4F9-6D480C873D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6539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A29A1BA-FD74-E3F2-0001-4537CC18366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420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lient Agenda Section Header">
    <p:bg>
      <p:bgPr>
        <a:solidFill>
          <a:srgbClr val="ED1C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184F831-12B7-CFFC-5ECC-2FD2DCAA4073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5436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3126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</p:spPr>
        <p:txBody>
          <a:bodyPr vert="horz"/>
          <a:lstStyle>
            <a:lvl1pPr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907184E-AFAB-99F6-DDDE-8E3BE80A1BF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0427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67AA60E-3654-D959-BA31-43DFBC4DB05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75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header box">
    <p:bg bwMode="gray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0BF56D4-B310-9819-70DA-20B188CC0C1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573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75695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8880E3D-E585-6271-B805-8E14AA53F9C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907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606C798-40AD-5A56-4FFD-CB1F8C21688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04547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8675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7738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Green half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B78FE70-ADC3-F2CF-CE94-9554B562AA0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1455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Green two third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81CC2D0-A68F-DA4D-7859-8839BE51FDFE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2789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6844B9B-4A74-3C0F-7DB2-F1D96016F36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6371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929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AB9F15A-AEA9-C779-4016-955A09306444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24089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10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half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B78FE70-ADC3-F2CF-CE94-9554B562AA0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59575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DFEFC1B-606F-0A66-A959-8764256B148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9903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6BC1DFD-B8B3-5774-A91A-8F0BB6823D0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958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5E840FA-3EC7-D912-7EF2-F9E5DBA8E63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6286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F90FA3-99B6-C9F9-B8B8-2E27B062F1D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028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D7E7CA2-3F54-5A56-25C1-7DFE05867B9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4540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1B21896-EAB5-4C84-9777-D571923E58A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932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9EC08D2-06A5-994E-E860-9FC10E65342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8318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AEBEAFB-A37D-F161-149A-230A6BD71BC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370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B1129B2-5706-A8A0-7CDD-E7E2F79B74E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763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3426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two third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81CC2D0-A68F-DA4D-7859-8839BE51FDFE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4808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290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7714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6CCCB5E-9443-D579-AAE7-913AE596B59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117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706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91803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1986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583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F85A58E-D75D-5D70-FC81-2C42B9D8790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266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332399"/>
          </a:xfr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548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D9F3F62-C0AA-1FC3-9A57-A04C8C535F8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393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6844B9B-4A74-3C0F-7DB2-F1D96016F36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676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108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729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5218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6629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90627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1326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Four column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8963372" cy="292100"/>
          </a:xfrm>
          <a:custGeom>
            <a:avLst/>
            <a:gdLst>
              <a:gd name="connsiteX0" fmla="*/ 0 w 8963372"/>
              <a:gd name="connsiteY0" fmla="*/ 0 h 292100"/>
              <a:gd name="connsiteX1" fmla="*/ 8963372 w 8963372"/>
              <a:gd name="connsiteY1" fmla="*/ 0 h 292100"/>
              <a:gd name="connsiteX2" fmla="*/ 8963372 w 8963372"/>
              <a:gd name="connsiteY2" fmla="*/ 292100 h 292100"/>
              <a:gd name="connsiteX3" fmla="*/ 0 w 8963372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63372" h="292100">
                <a:moveTo>
                  <a:pt x="0" y="0"/>
                </a:moveTo>
                <a:lnTo>
                  <a:pt x="8963372" y="0"/>
                </a:lnTo>
                <a:lnTo>
                  <a:pt x="896337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802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2812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half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537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two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3954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. 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46024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0016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44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3510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804776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059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8604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164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2783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85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. 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89843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8616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2B105E2-EEF0-5C8D-7A4D-720546A7E9D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0056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ent Agenda Section Header">
    <p:bg>
      <p:bgPr>
        <a:solidFill>
          <a:srgbClr val="ED1C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184F831-12B7-CFFC-5ECC-2FD2DCAA4073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8835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AB9F15A-AEA9-C779-4016-955A09306444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7066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077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304C088-E5EB-C4A3-24A7-3D13A5BD239C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7287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2FE76C8-5F01-9D2C-61B0-C9A0AFC4029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79469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39F02C2-029F-C4D7-1E33-63057B97C5B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976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89EEBE2-62D5-EAEF-00AF-E6F66660830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36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6C1DD9F-8B95-EF2F-8DBB-3FA0E8C1ED5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889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. 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95A91F7-0507-E38E-9676-1BE1FAE12CC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5010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DE8554-56E2-E0B3-30C2-084750FD492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605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3B1810B-FC30-F127-3495-6BED909646DA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42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Agenda Section Header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C896B0F-E34B-2924-1144-E8C7AE031F45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8686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6008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Agenda Section Header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7925EB2-FFDB-C784-EEE6-655F380D4B8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457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Agenda Full Width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75E17A3-930F-B2F1-B0E8-7E9C43EB1246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751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Agenda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DA41B9E-9C41-8AA4-9B86-5A5172D07B3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9690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58D35F5-9430-F3AE-42E7-F16E436AD268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519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7385946-D1F3-8DA3-1863-31DACF18C6A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084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C1EE702-C2FC-4A09-76D9-83F169A1D37E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24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Agenda D.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1234189-BA76-1722-A4A9-6846A2D6AA36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26199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Agenda 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47113C5-E7A6-812A-E930-D79C5682A40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44916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4DB36A4-3C22-4171-A7C0-131095FDCC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4DB36A4-3C22-4171-A7C0-131095FDCC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1" y="-1309"/>
            <a:ext cx="3252485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8C8680F0-21E4-46C4-A4F9-6D480C873D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6539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A29A1BA-FD74-E3F2-0001-4537CC18366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691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256DD11-030E-4276-B7F9-8800AF6ADF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  <a:endParaRPr lang="en-IN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780C3700-E3C2-478C-8875-962D0768B7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738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DFEFC1B-606F-0A66-A959-8764256B148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0189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ent Agenda Section Header">
    <p:bg>
      <p:bgPr>
        <a:solidFill>
          <a:srgbClr val="ED1C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184F831-12B7-CFFC-5ECC-2FD2DCAA4073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364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251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</p:spPr>
        <p:txBody>
          <a:bodyPr vert="horz"/>
          <a:lstStyle>
            <a:lvl1pPr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907184E-AFAB-99F6-DDDE-8E3BE80A1BF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982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67AA60E-3654-D959-BA31-43DFBC4DB05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206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header box">
    <p:bg bwMode="gray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0BF56D4-B310-9819-70DA-20B188CC0C1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203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ient Agenda Section Header">
    <p:bg>
      <p:bgPr>
        <a:solidFill>
          <a:srgbClr val="ED1C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A96FFF1-3411-9ED3-6C85-F125BCB3E079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166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8880E3D-E585-6271-B805-8E14AA53F9C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824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</p:spPr>
        <p:txBody>
          <a:bodyPr vert="horz"/>
          <a:lstStyle>
            <a:lvl1pPr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DB02CB0-0C0F-CB91-8D66-A9A43B7C8EB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920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07C621B-ED76-E53B-0043-0D768F640AA4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460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6588E9D-ED9F-FF74-FBB8-21345D8A059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323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6BC1DFD-B8B3-5774-A91A-8F0BB6823D0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912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B33C809-71F9-17FC-D6B9-1EE5E63AF70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3349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606C798-40AD-5A56-4FFD-CB1F8C21688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111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4761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502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half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B78FE70-ADC3-F2CF-CE94-9554B562AA0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27815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two third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81CC2D0-A68F-DA4D-7859-8839BE51FDFE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219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6844B9B-4A74-3C0F-7DB2-F1D96016F36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59459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58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AB9F15A-AEA9-C779-4016-955A09306444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2733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585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5E840FA-3EC7-D912-7EF2-F9E5DBA8E63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2298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DFEFC1B-606F-0A66-A959-8764256B148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6860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6BC1DFD-B8B3-5774-A91A-8F0BB6823D0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50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5E840FA-3EC7-D912-7EF2-F9E5DBA8E63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3941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F90FA3-99B6-C9F9-B8B8-2E27B062F1D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795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D7E7CA2-3F54-5A56-25C1-7DFE05867B9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760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1B21896-EAB5-4C84-9777-D571923E58A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774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859AD71-7DAC-68A7-E7F0-703BB2AEB45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61689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9EC08D2-06A5-994E-E860-9FC10E65342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1356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6108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59678DE-1A46-078F-B225-925D36C3B04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9020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F90FA3-99B6-C9F9-B8B8-2E27B062F1D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658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74B6783-CBED-E5A1-42A6-ABB2525166C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6761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D1107DB-AC76-7ED9-B8A6-7DEBE0A83ECD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2466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AEBEAFB-A37D-F161-149A-230A6BD71BC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408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86F8952-E77E-F572-7195-CAECC2888809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95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B1129B2-5706-A8A0-7CDD-E7E2F79B74E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2155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5793518-F919-A3CC-C5FE-FADFF99ADC3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0813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22C46E9-E7B3-5C45-0C76-40086F145CB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272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5300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610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3602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D7E7CA2-3F54-5A56-25C1-7DFE05867B9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03006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3E69160-D908-1E40-60FC-DAFFFE47FA8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06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70BA20F-1828-02F0-A715-FDB384BE550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2987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6CCCB5E-9443-D579-AAE7-913AE596B59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405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5537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4206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720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8536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83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34148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F85A58E-D75D-5D70-FC81-2C42B9D8790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009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1B21896-EAB5-4C84-9777-D571923E58A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950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Rectangle 1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EF2427">
                  <a:shade val="30000"/>
                  <a:satMod val="115000"/>
                  <a:alpha val="76000"/>
                </a:srgbClr>
              </a:gs>
              <a:gs pos="100000">
                <a:srgbClr val="ED1B24">
                  <a:alpha val="61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2328" y="2992637"/>
            <a:ext cx="3062417" cy="796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805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5" name="Freeform 54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5678521 h 6858000"/>
                <a:gd name="connsiteX2" fmla="*/ 629400 w 12193200"/>
                <a:gd name="connsiteY2" fmla="*/ 5678521 h 6858000"/>
                <a:gd name="connsiteX3" fmla="*/ 629400 w 12193200"/>
                <a:gd name="connsiteY3" fmla="*/ 6583680 h 6858000"/>
                <a:gd name="connsiteX4" fmla="*/ 11562600 w 12193200"/>
                <a:gd name="connsiteY4" fmla="*/ 6583680 h 6858000"/>
                <a:gd name="connsiteX5" fmla="*/ 11562600 w 12193200"/>
                <a:gd name="connsiteY5" fmla="*/ 5678521 h 6858000"/>
                <a:gd name="connsiteX6" fmla="*/ 11562000 w 12193200"/>
                <a:gd name="connsiteY6" fmla="*/ 567852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5678521"/>
                  </a:lnTo>
                  <a:lnTo>
                    <a:pt x="629400" y="5678521"/>
                  </a:lnTo>
                  <a:lnTo>
                    <a:pt x="629400" y="6583680"/>
                  </a:lnTo>
                  <a:lnTo>
                    <a:pt x="11562600" y="6583680"/>
                  </a:lnTo>
                  <a:lnTo>
                    <a:pt x="11562600" y="5678521"/>
                  </a:lnTo>
                  <a:lnTo>
                    <a:pt x="11562000" y="567852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  <a:alpha val="5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6" name="Group 55"/>
            <p:cNvGrpSpPr/>
            <p:nvPr/>
          </p:nvGrpSpPr>
          <p:grpSpPr>
            <a:xfrm>
              <a:off x="-600" y="622800"/>
              <a:ext cx="12193200" cy="5055720"/>
              <a:chOff x="-600" y="622800"/>
              <a:chExt cx="12193200" cy="5055720"/>
            </a:xfrm>
          </p:grpSpPr>
          <p:cxnSp>
            <p:nvCxnSpPr>
              <p:cNvPr id="116" name="Straight Connector 115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/>
            </p:nvCxnSpPr>
            <p:spPr>
              <a:xfrm>
                <a:off x="-600" y="92019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/>
            </p:nvCxnSpPr>
            <p:spPr>
              <a:xfrm>
                <a:off x="-600" y="121759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/>
            </p:nvCxnSpPr>
            <p:spPr>
              <a:xfrm>
                <a:off x="-600" y="151498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/>
            </p:nvCxnSpPr>
            <p:spPr>
              <a:xfrm>
                <a:off x="-600" y="181238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/>
            </p:nvCxnSpPr>
            <p:spPr>
              <a:xfrm>
                <a:off x="-600" y="210977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/>
            </p:nvCxnSpPr>
            <p:spPr>
              <a:xfrm>
                <a:off x="-600" y="240717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/>
            </p:nvCxnSpPr>
            <p:spPr>
              <a:xfrm>
                <a:off x="-600" y="27045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/>
            </p:nvCxnSpPr>
            <p:spPr>
              <a:xfrm>
                <a:off x="-600" y="300196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/>
            </p:nvCxnSpPr>
            <p:spPr>
              <a:xfrm>
                <a:off x="-600" y="32993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/>
            </p:nvCxnSpPr>
            <p:spPr>
              <a:xfrm>
                <a:off x="-600" y="359675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/>
            </p:nvCxnSpPr>
            <p:spPr>
              <a:xfrm>
                <a:off x="-600" y="389414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-600" y="419154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-600" y="448893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-600" y="478633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-600" y="508372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/>
            </p:nvCxnSpPr>
            <p:spPr>
              <a:xfrm>
                <a:off x="-600" y="53811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/>
            </p:nvCxnSpPr>
            <p:spPr>
              <a:xfrm>
                <a:off x="-600" y="56785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3" name="Group 92"/>
            <p:cNvGrpSpPr/>
            <p:nvPr/>
          </p:nvGrpSpPr>
          <p:grpSpPr>
            <a:xfrm>
              <a:off x="629400" y="623550"/>
              <a:ext cx="10933200" cy="5054970"/>
              <a:chOff x="629400" y="623550"/>
              <a:chExt cx="10933200" cy="5537047"/>
            </a:xfrm>
          </p:grpSpPr>
          <p:sp>
            <p:nvSpPr>
              <p:cNvPr id="100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4" name="Group 93"/>
            <p:cNvGrpSpPr/>
            <p:nvPr/>
          </p:nvGrpSpPr>
          <p:grpSpPr>
            <a:xfrm>
              <a:off x="-600" y="0"/>
              <a:ext cx="12193200" cy="6858000"/>
              <a:chOff x="-600" y="0"/>
              <a:chExt cx="12193200" cy="6858000"/>
            </a:xfrm>
          </p:grpSpPr>
          <p:sp>
            <p:nvSpPr>
              <p:cNvPr id="95" name="Slide edges"/>
              <p:cNvSpPr>
                <a:spLocks/>
              </p:cNvSpPr>
              <p:nvPr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96" name="Footnote measure"/>
              <p:cNvSpPr>
                <a:spLocks noChangeArrowheads="1"/>
              </p:cNvSpPr>
              <p:nvPr/>
            </p:nvSpPr>
            <p:spPr bwMode="auto">
              <a:xfrm>
                <a:off x="629400" y="5678521"/>
                <a:ext cx="10933200" cy="905159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Whitespace measure"/>
              <p:cNvSpPr>
                <a:spLocks noChangeArrowheads="1"/>
              </p:cNvSpPr>
              <p:nvPr/>
            </p:nvSpPr>
            <p:spPr bwMode="auto">
              <a:xfrm>
                <a:off x="629400" y="1514985"/>
                <a:ext cx="10932229" cy="59479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Live area"/>
              <p:cNvSpPr/>
              <p:nvPr/>
            </p:nvSpPr>
            <p:spPr>
              <a:xfrm>
                <a:off x="629400" y="2109775"/>
                <a:ext cx="10933200" cy="3568747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D1B24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Footnote example"/>
              <p:cNvSpPr txBox="1"/>
              <p:nvPr/>
            </p:nvSpPr>
            <p:spPr>
              <a:xfrm>
                <a:off x="630000" y="5678521"/>
                <a:ext cx="9030914" cy="3323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1. xxxx  2. xxxx  3. List footnotes in numerical order. Footnote numbers are not bracketed. Use 8pt font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Note: Do not put a period at the end of the note or the source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Source: Include a source for every chart that you use. Separate sources with a semicolon; BCG-related sources go at the end</a:t>
                </a: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sym typeface="Trebuchet MS" panose="020B0603020202020204" pitchFamily="34" charset="0"/>
                </a:endParaRPr>
              </a:p>
            </p:txBody>
          </p:sp>
        </p:grp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DD80BFC9-733C-8AC6-C9DC-C6978C63503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4922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256DD11-030E-4276-B7F9-8800AF6ADF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  <a:endParaRPr lang="en-IN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80C3700-E3C2-478C-8875-962D0768B7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72ACFA5-99E3-D763-1984-AD5ABE628052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453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332399"/>
          </a:xfr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011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D9F3F62-C0AA-1FC3-9A57-A04C8C535F8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6982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451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540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332399"/>
          </a:xfr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59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917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705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859AD71-7DAC-68A7-E7F0-703BB2AEB45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9840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9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536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0563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90627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5275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8963372" cy="292100"/>
          </a:xfrm>
          <a:custGeom>
            <a:avLst/>
            <a:gdLst>
              <a:gd name="connsiteX0" fmla="*/ 0 w 8963372"/>
              <a:gd name="connsiteY0" fmla="*/ 0 h 292100"/>
              <a:gd name="connsiteX1" fmla="*/ 8963372 w 8963372"/>
              <a:gd name="connsiteY1" fmla="*/ 0 h 292100"/>
              <a:gd name="connsiteX2" fmla="*/ 8963372 w 8963372"/>
              <a:gd name="connsiteY2" fmla="*/ 292100 h 292100"/>
              <a:gd name="connsiteX3" fmla="*/ 0 w 8963372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63372" h="292100">
                <a:moveTo>
                  <a:pt x="0" y="0"/>
                </a:moveTo>
                <a:lnTo>
                  <a:pt x="8963372" y="0"/>
                </a:lnTo>
                <a:lnTo>
                  <a:pt x="896337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5505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7796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494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5154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4843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174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9EC08D2-06A5-994E-E860-9FC10E65342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3644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828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804776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738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8540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11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97957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837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3715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535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4766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90627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9143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6750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59678DE-1A46-078F-B225-925D36C3B04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1806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Four column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8963372" cy="292100"/>
          </a:xfrm>
          <a:custGeom>
            <a:avLst/>
            <a:gdLst>
              <a:gd name="connsiteX0" fmla="*/ 0 w 8963372"/>
              <a:gd name="connsiteY0" fmla="*/ 0 h 292100"/>
              <a:gd name="connsiteX1" fmla="*/ 8963372 w 8963372"/>
              <a:gd name="connsiteY1" fmla="*/ 0 h 292100"/>
              <a:gd name="connsiteX2" fmla="*/ 8963372 w 8963372"/>
              <a:gd name="connsiteY2" fmla="*/ 292100 h 292100"/>
              <a:gd name="connsiteX3" fmla="*/ 0 w 8963372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63372" h="292100">
                <a:moveTo>
                  <a:pt x="0" y="0"/>
                </a:moveTo>
                <a:lnTo>
                  <a:pt x="8963372" y="0"/>
                </a:lnTo>
                <a:lnTo>
                  <a:pt x="896337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66820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51007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half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613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two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7173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2B105E2-EEF0-5C8D-7A4D-720546A7E9D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0272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735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7420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807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8265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364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74B6783-CBED-E5A1-42A6-ABB2525166C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9343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0233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304C088-E5EB-C4A3-24A7-3D13A5BD239C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466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5900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39F02C2-029F-C4D7-1E33-63057B97C5B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8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1CB14D6-3D48-47EE-0366-1C8401CA6F2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2252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89EEBE2-62D5-EAEF-00AF-E6F66660830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2613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6C1DD9F-8B95-EF2F-8DBB-3FA0E8C1ED5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57674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. 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95A91F7-0507-E38E-9676-1BE1FAE12CC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86404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DE8554-56E2-E0B3-30C2-084750FD492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068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3B1810B-FC30-F127-3495-6BED909646DA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957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D1107DB-AC76-7ED9-B8A6-7DEBE0A83ECD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7732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FA11A4D-78E4-8FB5-A8FB-C95D2EF915B4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194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7F1AD90-0D0B-3669-CC80-8C0E818AFF7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7534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735A47E-7E56-4E95-41E3-B6A786C67A8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45270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EF587F7-0D99-3E90-A037-7C376F021005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36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B19D0F5-C889-B78E-3CAE-7CEF380CE96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420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Rectangle 1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EF2427">
                  <a:shade val="30000"/>
                  <a:satMod val="115000"/>
                  <a:alpha val="76000"/>
                </a:srgbClr>
              </a:gs>
              <a:gs pos="100000">
                <a:srgbClr val="ED1B24">
                  <a:alpha val="61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2328" y="2992637"/>
            <a:ext cx="3062417" cy="79672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EBDB73F-CDDF-FB9B-C304-7CE8A6085959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271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9" name="Freeform 48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5678521 h 6858000"/>
                <a:gd name="connsiteX2" fmla="*/ 629400 w 12193200"/>
                <a:gd name="connsiteY2" fmla="*/ 5678521 h 6858000"/>
                <a:gd name="connsiteX3" fmla="*/ 629400 w 12193200"/>
                <a:gd name="connsiteY3" fmla="*/ 6583680 h 6858000"/>
                <a:gd name="connsiteX4" fmla="*/ 11562600 w 12193200"/>
                <a:gd name="connsiteY4" fmla="*/ 6583680 h 6858000"/>
                <a:gd name="connsiteX5" fmla="*/ 11562600 w 12193200"/>
                <a:gd name="connsiteY5" fmla="*/ 5678521 h 6858000"/>
                <a:gd name="connsiteX6" fmla="*/ 11562000 w 12193200"/>
                <a:gd name="connsiteY6" fmla="*/ 567852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5678521"/>
                  </a:lnTo>
                  <a:lnTo>
                    <a:pt x="629400" y="5678521"/>
                  </a:lnTo>
                  <a:lnTo>
                    <a:pt x="629400" y="6583680"/>
                  </a:lnTo>
                  <a:lnTo>
                    <a:pt x="11562600" y="6583680"/>
                  </a:lnTo>
                  <a:lnTo>
                    <a:pt x="11562600" y="5678521"/>
                  </a:lnTo>
                  <a:lnTo>
                    <a:pt x="11562000" y="567852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  <a:alpha val="5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0" name="Group 49"/>
            <p:cNvGrpSpPr/>
            <p:nvPr/>
          </p:nvGrpSpPr>
          <p:grpSpPr>
            <a:xfrm>
              <a:off x="-600" y="622800"/>
              <a:ext cx="12193200" cy="5055720"/>
              <a:chOff x="-600" y="622800"/>
              <a:chExt cx="12193200" cy="5055720"/>
            </a:xfrm>
          </p:grpSpPr>
          <p:cxnSp>
            <p:nvCxnSpPr>
              <p:cNvPr id="74" name="Straight Connector 73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/>
            </p:nvCxnSpPr>
            <p:spPr>
              <a:xfrm>
                <a:off x="-600" y="92019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/>
            </p:nvCxnSpPr>
            <p:spPr>
              <a:xfrm>
                <a:off x="-600" y="121759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/>
            </p:nvCxnSpPr>
            <p:spPr>
              <a:xfrm>
                <a:off x="-600" y="151498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-600" y="181238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-600" y="210977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-600" y="240717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-600" y="27045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-600" y="300196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-600" y="32993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-600" y="359675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-600" y="389414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-600" y="419154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-600" y="448893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-600" y="478633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-600" y="508372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-600" y="53811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-600" y="56785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/>
          </p:nvGrpSpPr>
          <p:grpSpPr>
            <a:xfrm>
              <a:off x="629400" y="623550"/>
              <a:ext cx="10933200" cy="5054970"/>
              <a:chOff x="629400" y="623550"/>
              <a:chExt cx="10933200" cy="5537047"/>
            </a:xfrm>
          </p:grpSpPr>
          <p:sp>
            <p:nvSpPr>
              <p:cNvPr id="58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-600" y="0"/>
              <a:ext cx="12193200" cy="6858000"/>
              <a:chOff x="-600" y="0"/>
              <a:chExt cx="12193200" cy="6858000"/>
            </a:xfrm>
          </p:grpSpPr>
          <p:sp>
            <p:nvSpPr>
              <p:cNvPr id="53" name="Slide edges"/>
              <p:cNvSpPr>
                <a:spLocks/>
              </p:cNvSpPr>
              <p:nvPr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54" name="Footnote measure"/>
              <p:cNvSpPr>
                <a:spLocks noChangeArrowheads="1"/>
              </p:cNvSpPr>
              <p:nvPr/>
            </p:nvSpPr>
            <p:spPr bwMode="auto">
              <a:xfrm>
                <a:off x="629400" y="5678521"/>
                <a:ext cx="10933200" cy="905159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Whitespace measure"/>
              <p:cNvSpPr>
                <a:spLocks noChangeArrowheads="1"/>
              </p:cNvSpPr>
              <p:nvPr/>
            </p:nvSpPr>
            <p:spPr bwMode="auto">
              <a:xfrm>
                <a:off x="629400" y="1514985"/>
                <a:ext cx="10932229" cy="59479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Live area"/>
              <p:cNvSpPr/>
              <p:nvPr/>
            </p:nvSpPr>
            <p:spPr>
              <a:xfrm>
                <a:off x="629400" y="2109775"/>
                <a:ext cx="10933200" cy="3568747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D1B24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Footnote example"/>
              <p:cNvSpPr txBox="1"/>
              <p:nvPr/>
            </p:nvSpPr>
            <p:spPr>
              <a:xfrm>
                <a:off x="630000" y="5678521"/>
                <a:ext cx="9030914" cy="3323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1. xxxx  2. xxxx  3. List footnotes in numerical order. Footnote numbers are not bracketed. Use 8pt font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Note: Do not put a period at the end of the note or the source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Source: Include a source for every chart that you use. Separate sources with a semicolon; BCG-related sources go at the end</a:t>
                </a: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sym typeface="Trebuchet MS" panose="020B0603020202020204" pitchFamily="34" charset="0"/>
                </a:endParaRPr>
              </a:p>
            </p:txBody>
          </p:sp>
        </p:grp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C47D6532-6E04-D5F1-51B1-5FCF226B9A7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5929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C896B0F-E34B-2924-1144-E8C7AE031F45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206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7925EB2-FFDB-C784-EEE6-655F380D4B8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85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75E17A3-930F-B2F1-B0E8-7E9C43EB1246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9869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AEBEAFB-A37D-F161-149A-230A6BD71BC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488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DA41B9E-9C41-8AA4-9B86-5A5172D07B3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5184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58D35F5-9430-F3AE-42E7-F16E436AD268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961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7385946-D1F3-8DA3-1863-31DACF18C6A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2578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C1EE702-C2FC-4A09-76D9-83F169A1D37E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7485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1234189-BA76-1722-A4A9-6846A2D6AA36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620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47113C5-E7A6-812A-E930-D79C5682A40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4321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4DB36A4-3C22-4171-A7C0-131095FDCC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4DB36A4-3C22-4171-A7C0-131095FDCC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1" y="-1309"/>
            <a:ext cx="3252485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8C8680F0-21E4-46C4-A4F9-6D480C873D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6539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A29A1BA-FD74-E3F2-0001-4537CC18366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112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Section Header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9A8ACE7-2E04-BD70-3776-6CFC23D41071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845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Section Header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B4A164A-717D-1E59-23E2-64D2AEC510A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537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Full Width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73AC1B9-0172-110B-30E0-17EF7244E68C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38648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86F8952-E77E-F572-7195-CAECC2888809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3195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D3BA188-FAB0-7771-2F12-641B0898D7A6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94665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1978BA6-DB2E-5CF8-EB1A-6FA7F944C52A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236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5CC9245-852A-65AB-C4C1-8B837C9AC03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458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804529A-A116-4099-518F-CA7CC0C162B4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636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D.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EFB0E72-D6A2-04DC-2D06-37FD698B60D9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40952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4B7DF88-3540-8276-57AA-A0B7FF636AA4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17444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4DB36A4-3C22-4171-A7C0-131095FDCC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4DB36A4-3C22-4171-A7C0-131095FDCC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1" y="-1309"/>
            <a:ext cx="3252485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8C8680F0-21E4-46C4-A4F9-6D480C873D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6539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214059E-2AD0-9AFC-155A-40408CF2CAAE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136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286958-D78A-4899-49D2-0A0F00C62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26D3A4-88E6-1405-A825-5BD3411227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9469F6-ECB5-55B3-DE85-131F06127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33DAFA-91E5-5041-8A6F-F1954D78DFD6}" type="datetimeFigureOut">
              <a:rPr lang="en-US" smtClean="0"/>
              <a:t>6/7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778E1E-89E1-FD6B-61D9-E5363A4749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273657-82BE-4D2A-0305-36B5D0E48C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056B8F-DFAE-E646-BC01-2038911031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7660390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FFDA4BC1-F9E7-3122-D215-2A572D0A8172}"/>
              </a:ext>
            </a:extLst>
          </p:cNvPr>
          <p:cNvSpPr/>
          <p:nvPr userDrawn="1"/>
        </p:nvSpPr>
        <p:spPr>
          <a:xfrm rot="10800000">
            <a:off x="-2" y="154806"/>
            <a:ext cx="11563352" cy="966585"/>
          </a:xfrm>
          <a:custGeom>
            <a:avLst/>
            <a:gdLst>
              <a:gd name="connsiteX0" fmla="*/ 9880602 w 9880602"/>
              <a:gd name="connsiteY0" fmla="*/ 966585 h 966585"/>
              <a:gd name="connsiteX1" fmla="*/ 9252873 w 9880602"/>
              <a:gd name="connsiteY1" fmla="*/ 966585 h 966585"/>
              <a:gd name="connsiteX2" fmla="*/ 7366000 w 9880602"/>
              <a:gd name="connsiteY2" fmla="*/ 966585 h 966585"/>
              <a:gd name="connsiteX3" fmla="*/ 0 w 9880602"/>
              <a:gd name="connsiteY3" fmla="*/ 966585 h 966585"/>
              <a:gd name="connsiteX4" fmla="*/ 627729 w 9880602"/>
              <a:gd name="connsiteY4" fmla="*/ 0 h 966585"/>
              <a:gd name="connsiteX5" fmla="*/ 7366000 w 9880602"/>
              <a:gd name="connsiteY5" fmla="*/ 0 h 966585"/>
              <a:gd name="connsiteX6" fmla="*/ 9880602 w 9880602"/>
              <a:gd name="connsiteY6" fmla="*/ 0 h 966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880602" h="966585">
                <a:moveTo>
                  <a:pt x="9880602" y="966585"/>
                </a:moveTo>
                <a:lnTo>
                  <a:pt x="9252873" y="966585"/>
                </a:lnTo>
                <a:lnTo>
                  <a:pt x="7366000" y="966585"/>
                </a:lnTo>
                <a:lnTo>
                  <a:pt x="0" y="966585"/>
                </a:lnTo>
                <a:lnTo>
                  <a:pt x="627729" y="0"/>
                </a:lnTo>
                <a:lnTo>
                  <a:pt x="7366000" y="0"/>
                </a:lnTo>
                <a:lnTo>
                  <a:pt x="9880602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77000">
                <a:srgbClr val="ED1B24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Montserrat" pitchFamily="2" charset="0"/>
              <a:sym typeface="Montserrat" pitchFamily="2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28650" y="499605"/>
            <a:ext cx="10039350" cy="276999"/>
          </a:xfrm>
        </p:spPr>
        <p:txBody>
          <a:bodyPr vert="horz" anchor="ctr"/>
          <a:lstStyle>
            <a:lvl1pPr>
              <a:defRPr>
                <a:solidFill>
                  <a:srgbClr val="FFFFFF"/>
                </a:solidFill>
                <a:latin typeface="Montserrat" pitchFamily="2" charset="0"/>
                <a:sym typeface="Montserrat" pitchFamily="2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Montserrat" pitchFamily="2" charset="0"/>
                <a:sym typeface="Montserrat" pitchFamily="2" charset="0"/>
              </a:rPr>
              <a:t>Copyright © 2023 by Boston Consulting Group. All rights reserved.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192A1E4-528E-D842-33AC-F3DC62C9E68B}"/>
              </a:ext>
            </a:extLst>
          </p:cNvPr>
          <p:cNvCxnSpPr>
            <a:cxnSpLocks/>
          </p:cNvCxnSpPr>
          <p:nvPr userDrawn="1"/>
        </p:nvCxnSpPr>
        <p:spPr>
          <a:xfrm>
            <a:off x="0" y="6513009"/>
            <a:ext cx="10485120" cy="0"/>
          </a:xfrm>
          <a:prstGeom prst="line">
            <a:avLst/>
          </a:prstGeom>
          <a:ln w="19050" cap="rnd">
            <a:gradFill>
              <a:gsLst>
                <a:gs pos="100000">
                  <a:srgbClr val="ED1C24"/>
                </a:gs>
                <a:gs pos="0">
                  <a:srgbClr val="0C4DA2"/>
                </a:gs>
              </a:gsLst>
              <a:lin ang="0" scaled="0"/>
            </a:gra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680DD2F4-3511-E7AA-1722-53E2FFEADE36}"/>
              </a:ext>
            </a:extLst>
          </p:cNvPr>
          <p:cNvSpPr/>
          <p:nvPr userDrawn="1"/>
        </p:nvSpPr>
        <p:spPr>
          <a:xfrm rot="10800000">
            <a:off x="11125426" y="2493228"/>
            <a:ext cx="1066572" cy="2647944"/>
          </a:xfrm>
          <a:custGeom>
            <a:avLst/>
            <a:gdLst>
              <a:gd name="connsiteX0" fmla="*/ 0 w 673108"/>
              <a:gd name="connsiteY0" fmla="*/ 0 h 2081074"/>
              <a:gd name="connsiteX1" fmla="*/ 930 w 673108"/>
              <a:gd name="connsiteY1" fmla="*/ 0 h 2081074"/>
              <a:gd name="connsiteX2" fmla="*/ 632934 w 673108"/>
              <a:gd name="connsiteY2" fmla="*/ 592196 h 2081074"/>
              <a:gd name="connsiteX3" fmla="*/ 662268 w 673108"/>
              <a:gd name="connsiteY3" fmla="*/ 722571 h 2081074"/>
              <a:gd name="connsiteX4" fmla="*/ 400 w 673108"/>
              <a:gd name="connsiteY4" fmla="*/ 2081074 h 2081074"/>
              <a:gd name="connsiteX5" fmla="*/ 0 w 673108"/>
              <a:gd name="connsiteY5" fmla="*/ 2081074 h 2081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3108" h="2081074">
                <a:moveTo>
                  <a:pt x="0" y="0"/>
                </a:moveTo>
                <a:lnTo>
                  <a:pt x="930" y="0"/>
                </a:lnTo>
                <a:cubicBezTo>
                  <a:pt x="247700" y="197445"/>
                  <a:pt x="386164" y="394751"/>
                  <a:pt x="632934" y="592196"/>
                </a:cubicBezTo>
                <a:cubicBezTo>
                  <a:pt x="672046" y="623486"/>
                  <a:pt x="684214" y="677592"/>
                  <a:pt x="662268" y="722571"/>
                </a:cubicBezTo>
                <a:lnTo>
                  <a:pt x="400" y="2081074"/>
                </a:lnTo>
                <a:lnTo>
                  <a:pt x="0" y="2081074"/>
                </a:lnTo>
                <a:close/>
              </a:path>
            </a:pathLst>
          </a:custGeom>
          <a:gradFill flip="none" rotWithShape="1">
            <a:gsLst>
              <a:gs pos="0">
                <a:srgbClr val="403F85">
                  <a:alpha val="15000"/>
                </a:srgbClr>
              </a:gs>
              <a:gs pos="72000">
                <a:srgbClr val="ED1B24">
                  <a:alpha val="18000"/>
                </a:srgbClr>
              </a:gs>
            </a:gsLst>
            <a:lin ang="4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Montserrat" pitchFamily="2" charset="0"/>
              <a:sym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5002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만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>
            <a:extLst>
              <a:ext uri="{FF2B5EF4-FFF2-40B4-BE49-F238E27FC236}">
                <a16:creationId xmlns:a16="http://schemas.microsoft.com/office/drawing/2014/main" id="{6EC8781B-62F7-4ABA-BEB1-58F03EA42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개체 3" hidden="1">
                        <a:extLst>
                          <a:ext uri="{FF2B5EF4-FFF2-40B4-BE49-F238E27FC236}">
                            <a16:creationId xmlns:a16="http://schemas.microsoft.com/office/drawing/2014/main" id="{6EC8781B-62F7-4ABA-BEB1-58F03EA42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877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8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ko-KR" altLang="en-US"/>
              <a:t>제목을 입력하세요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990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B1129B2-5706-A8A0-7CDD-E7E2F79B74E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6130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lient Agenda Section Header">
    <p:bg>
      <p:bgPr>
        <a:solidFill>
          <a:srgbClr val="ED1C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184F831-12B7-CFFC-5ECC-2FD2DCAA4073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63312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47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</p:spPr>
        <p:txBody>
          <a:bodyPr vert="horz"/>
          <a:lstStyle>
            <a:lvl1pPr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907184E-AFAB-99F6-DDDE-8E3BE80A1BF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966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67AA60E-3654-D959-BA31-43DFBC4DB05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5874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header box">
    <p:bg bwMode="gray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0BF56D4-B310-9819-70DA-20B188CC0C1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870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8880E3D-E585-6271-B805-8E14AA53F9C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5480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606C798-40AD-5A56-4FFD-CB1F8C21688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6947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8318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half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B78FE70-ADC3-F2CF-CE94-9554B562AA0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7003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two third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81CC2D0-A68F-DA4D-7859-8839BE51FDFE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3806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5793518-F919-A3CC-C5FE-FADFF99ADC3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7570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6844B9B-4A74-3C0F-7DB2-F1D96016F36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5466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7234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AB9F15A-AEA9-C779-4016-955A09306444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520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315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DFEFC1B-606F-0A66-A959-8764256B148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987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6BC1DFD-B8B3-5774-A91A-8F0BB6823D0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634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5E840FA-3EC7-D912-7EF2-F9E5DBA8E63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3614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F90FA3-99B6-C9F9-B8B8-2E27B062F1D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1263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D7E7CA2-3F54-5A56-25C1-7DFE05867B9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4468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1B21896-EAB5-4C84-9777-D571923E58A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663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22C46E9-E7B3-5C45-0C76-40086F145CB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783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9EC08D2-06A5-994E-E860-9FC10E65342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448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0734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AEBEAFB-A37D-F161-149A-230A6BD71BC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795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B1129B2-5706-A8A0-7CDD-E7E2F79B74E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619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895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751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7190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6CCCB5E-9443-D579-AAE7-913AE596B59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10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9602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3461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5164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116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7074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F85A58E-D75D-5D70-FC81-2C42B9D8790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855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332399"/>
          </a:xfr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3581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D9F3F62-C0AA-1FC3-9A57-A04C8C535F8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091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2145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1323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309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1879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90627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5853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4139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Four column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8963372" cy="292100"/>
          </a:xfrm>
          <a:custGeom>
            <a:avLst/>
            <a:gdLst>
              <a:gd name="connsiteX0" fmla="*/ 0 w 8963372"/>
              <a:gd name="connsiteY0" fmla="*/ 0 h 292100"/>
              <a:gd name="connsiteX1" fmla="*/ 8963372 w 8963372"/>
              <a:gd name="connsiteY1" fmla="*/ 0 h 292100"/>
              <a:gd name="connsiteX2" fmla="*/ 8963372 w 8963372"/>
              <a:gd name="connsiteY2" fmla="*/ 292100 h 292100"/>
              <a:gd name="connsiteX3" fmla="*/ 0 w 8963372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63372" h="292100">
                <a:moveTo>
                  <a:pt x="0" y="0"/>
                </a:moveTo>
                <a:lnTo>
                  <a:pt x="8963372" y="0"/>
                </a:lnTo>
                <a:lnTo>
                  <a:pt x="896337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4890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551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half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4090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two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2597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836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163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5074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804776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538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1993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504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</p:spPr>
        <p:txBody>
          <a:bodyPr vert="horz"/>
          <a:lstStyle>
            <a:lvl1pPr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907184E-AFAB-99F6-DDDE-8E3BE80A1BF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422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3476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1443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271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950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2B105E2-EEF0-5C8D-7A4D-720546A7E9D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2481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981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304C088-E5EB-C4A3-24A7-3D13A5BD239C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814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1142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39F02C2-029F-C4D7-1E33-63057B97C5B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031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89EEBE2-62D5-EAEF-00AF-E6F66660830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1967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6C1DD9F-8B95-EF2F-8DBB-3FA0E8C1ED5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3936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11" b="-40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70BA20F-1828-02F0-A715-FDB384BE550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7061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. 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95A91F7-0507-E38E-9676-1BE1FAE12CC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9744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DE8554-56E2-E0B3-30C2-084750FD492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860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3B1810B-FC30-F127-3495-6BED909646DA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5425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Section Header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C896B0F-E34B-2924-1144-E8C7AE031F45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120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Section Header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7925EB2-FFDB-C784-EEE6-655F380D4B8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7410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Full Width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75E17A3-930F-B2F1-B0E8-7E9C43EB1246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3180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DA41B9E-9C41-8AA4-9B86-5A5172D07B3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1750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58D35F5-9430-F3AE-42E7-F16E436AD268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273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7385946-D1F3-8DA3-1863-31DACF18C6A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908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C1EE702-C2FC-4A09-76D9-83F169A1D37E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290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6CCCB5E-9443-D579-AAE7-913AE596B59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997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D.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1234189-BA76-1722-A4A9-6846A2D6AA36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619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47113C5-E7A6-812A-E930-D79C5682A40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325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4DB36A4-3C22-4171-A7C0-131095FDCC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4DB36A4-3C22-4171-A7C0-131095FDCC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1" y="-1309"/>
            <a:ext cx="3252485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8C8680F0-21E4-46C4-A4F9-6D480C873D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6539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A29A1BA-FD74-E3F2-0001-4537CC18366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977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FFDA4BC1-F9E7-3122-D215-2A572D0A8172}"/>
              </a:ext>
            </a:extLst>
          </p:cNvPr>
          <p:cNvSpPr/>
          <p:nvPr userDrawn="1"/>
        </p:nvSpPr>
        <p:spPr>
          <a:xfrm rot="10800000">
            <a:off x="-2" y="154806"/>
            <a:ext cx="11563352" cy="966585"/>
          </a:xfrm>
          <a:custGeom>
            <a:avLst/>
            <a:gdLst>
              <a:gd name="connsiteX0" fmla="*/ 9880602 w 9880602"/>
              <a:gd name="connsiteY0" fmla="*/ 966585 h 966585"/>
              <a:gd name="connsiteX1" fmla="*/ 9252873 w 9880602"/>
              <a:gd name="connsiteY1" fmla="*/ 966585 h 966585"/>
              <a:gd name="connsiteX2" fmla="*/ 7366000 w 9880602"/>
              <a:gd name="connsiteY2" fmla="*/ 966585 h 966585"/>
              <a:gd name="connsiteX3" fmla="*/ 0 w 9880602"/>
              <a:gd name="connsiteY3" fmla="*/ 966585 h 966585"/>
              <a:gd name="connsiteX4" fmla="*/ 627729 w 9880602"/>
              <a:gd name="connsiteY4" fmla="*/ 0 h 966585"/>
              <a:gd name="connsiteX5" fmla="*/ 7366000 w 9880602"/>
              <a:gd name="connsiteY5" fmla="*/ 0 h 966585"/>
              <a:gd name="connsiteX6" fmla="*/ 9880602 w 9880602"/>
              <a:gd name="connsiteY6" fmla="*/ 0 h 966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880602" h="966585">
                <a:moveTo>
                  <a:pt x="9880602" y="966585"/>
                </a:moveTo>
                <a:lnTo>
                  <a:pt x="9252873" y="966585"/>
                </a:lnTo>
                <a:lnTo>
                  <a:pt x="7366000" y="966585"/>
                </a:lnTo>
                <a:lnTo>
                  <a:pt x="0" y="966585"/>
                </a:lnTo>
                <a:lnTo>
                  <a:pt x="627729" y="0"/>
                </a:lnTo>
                <a:lnTo>
                  <a:pt x="7366000" y="0"/>
                </a:lnTo>
                <a:lnTo>
                  <a:pt x="9880602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77000">
                <a:srgbClr val="ED1B24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Montserrat" pitchFamily="2" charset="0"/>
              <a:sym typeface="Montserrat" pitchFamily="2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28650" y="499605"/>
            <a:ext cx="10039350" cy="276999"/>
          </a:xfrm>
        </p:spPr>
        <p:txBody>
          <a:bodyPr vert="horz" anchor="ctr"/>
          <a:lstStyle>
            <a:lvl1pPr>
              <a:defRPr>
                <a:solidFill>
                  <a:srgbClr val="FFFFFF"/>
                </a:solidFill>
                <a:latin typeface="Montserrat" pitchFamily="2" charset="0"/>
                <a:sym typeface="Montserrat" pitchFamily="2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Montserrat" pitchFamily="2" charset="0"/>
                <a:sym typeface="Montserrat" pitchFamily="2" charset="0"/>
              </a:rPr>
              <a:t>Copyright © 2025 by Boston Consulting Group. All rights reserved.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192A1E4-528E-D842-33AC-F3DC62C9E68B}"/>
              </a:ext>
            </a:extLst>
          </p:cNvPr>
          <p:cNvCxnSpPr>
            <a:cxnSpLocks/>
          </p:cNvCxnSpPr>
          <p:nvPr userDrawn="1"/>
        </p:nvCxnSpPr>
        <p:spPr>
          <a:xfrm>
            <a:off x="0" y="6513009"/>
            <a:ext cx="10485120" cy="0"/>
          </a:xfrm>
          <a:prstGeom prst="line">
            <a:avLst/>
          </a:prstGeom>
          <a:ln w="19050" cap="rnd">
            <a:gradFill>
              <a:gsLst>
                <a:gs pos="100000">
                  <a:srgbClr val="ED1C24"/>
                </a:gs>
                <a:gs pos="0">
                  <a:srgbClr val="0C4DA2"/>
                </a:gs>
              </a:gsLst>
              <a:lin ang="0" scaled="0"/>
            </a:gra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680DD2F4-3511-E7AA-1722-53E2FFEADE36}"/>
              </a:ext>
            </a:extLst>
          </p:cNvPr>
          <p:cNvSpPr/>
          <p:nvPr userDrawn="1"/>
        </p:nvSpPr>
        <p:spPr>
          <a:xfrm rot="10800000">
            <a:off x="11125426" y="2493228"/>
            <a:ext cx="1066572" cy="2647944"/>
          </a:xfrm>
          <a:custGeom>
            <a:avLst/>
            <a:gdLst>
              <a:gd name="connsiteX0" fmla="*/ 0 w 673108"/>
              <a:gd name="connsiteY0" fmla="*/ 0 h 2081074"/>
              <a:gd name="connsiteX1" fmla="*/ 930 w 673108"/>
              <a:gd name="connsiteY1" fmla="*/ 0 h 2081074"/>
              <a:gd name="connsiteX2" fmla="*/ 632934 w 673108"/>
              <a:gd name="connsiteY2" fmla="*/ 592196 h 2081074"/>
              <a:gd name="connsiteX3" fmla="*/ 662268 w 673108"/>
              <a:gd name="connsiteY3" fmla="*/ 722571 h 2081074"/>
              <a:gd name="connsiteX4" fmla="*/ 400 w 673108"/>
              <a:gd name="connsiteY4" fmla="*/ 2081074 h 2081074"/>
              <a:gd name="connsiteX5" fmla="*/ 0 w 673108"/>
              <a:gd name="connsiteY5" fmla="*/ 2081074 h 2081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3108" h="2081074">
                <a:moveTo>
                  <a:pt x="0" y="0"/>
                </a:moveTo>
                <a:lnTo>
                  <a:pt x="930" y="0"/>
                </a:lnTo>
                <a:cubicBezTo>
                  <a:pt x="247700" y="197445"/>
                  <a:pt x="386164" y="394751"/>
                  <a:pt x="632934" y="592196"/>
                </a:cubicBezTo>
                <a:cubicBezTo>
                  <a:pt x="672046" y="623486"/>
                  <a:pt x="684214" y="677592"/>
                  <a:pt x="662268" y="722571"/>
                </a:cubicBezTo>
                <a:lnTo>
                  <a:pt x="400" y="2081074"/>
                </a:lnTo>
                <a:lnTo>
                  <a:pt x="0" y="2081074"/>
                </a:lnTo>
                <a:close/>
              </a:path>
            </a:pathLst>
          </a:custGeom>
          <a:gradFill flip="none" rotWithShape="1">
            <a:gsLst>
              <a:gs pos="0">
                <a:srgbClr val="403F85">
                  <a:alpha val="15000"/>
                </a:srgbClr>
              </a:gs>
              <a:gs pos="72000">
                <a:srgbClr val="ED1B24">
                  <a:alpha val="18000"/>
                </a:srgbClr>
              </a:gs>
            </a:gsLst>
            <a:lin ang="4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Montserrat" pitchFamily="2" charset="0"/>
              <a:sym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7349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만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>
            <a:extLst>
              <a:ext uri="{FF2B5EF4-FFF2-40B4-BE49-F238E27FC236}">
                <a16:creationId xmlns:a16="http://schemas.microsoft.com/office/drawing/2014/main" id="{6EC8781B-62F7-4ABA-BEB1-58F03EA42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개체 3" hidden="1">
                        <a:extLst>
                          <a:ext uri="{FF2B5EF4-FFF2-40B4-BE49-F238E27FC236}">
                            <a16:creationId xmlns:a16="http://schemas.microsoft.com/office/drawing/2014/main" id="{6EC8781B-62F7-4ABA-BEB1-58F03EA42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877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8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ko-KR" altLang="en-US"/>
              <a:t>제목을 입력하세요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9135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256DD11-030E-4276-B7F9-8800AF6ADF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  <a:endParaRPr lang="en-IN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780C3700-E3C2-478C-8875-962D0768B7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202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ent Agenda Section Header">
    <p:bg>
      <p:bgPr>
        <a:solidFill>
          <a:srgbClr val="ED1C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4740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896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</p:spPr>
        <p:txBody>
          <a:bodyPr vert="horz"/>
          <a:lstStyle>
            <a:lvl1pPr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672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317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0745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78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6833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5795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0250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1496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80771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3584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129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480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4112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9377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507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6575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872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26944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032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9968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5982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113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999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04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0587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4439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3328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5"/>
          <a:srcRect l="1079" t="8722" r="1079" b="8722"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Rectangle 1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EF2427">
                  <a:shade val="30000"/>
                  <a:satMod val="115000"/>
                  <a:alpha val="76000"/>
                </a:srgbClr>
              </a:gs>
              <a:gs pos="100000">
                <a:srgbClr val="ED1B24">
                  <a:alpha val="61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2328" y="2992637"/>
            <a:ext cx="3062417" cy="796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838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5" name="Freeform 54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5678521 h 6858000"/>
                <a:gd name="connsiteX2" fmla="*/ 629400 w 12193200"/>
                <a:gd name="connsiteY2" fmla="*/ 5678521 h 6858000"/>
                <a:gd name="connsiteX3" fmla="*/ 629400 w 12193200"/>
                <a:gd name="connsiteY3" fmla="*/ 6583680 h 6858000"/>
                <a:gd name="connsiteX4" fmla="*/ 11562600 w 12193200"/>
                <a:gd name="connsiteY4" fmla="*/ 6583680 h 6858000"/>
                <a:gd name="connsiteX5" fmla="*/ 11562600 w 12193200"/>
                <a:gd name="connsiteY5" fmla="*/ 5678521 h 6858000"/>
                <a:gd name="connsiteX6" fmla="*/ 11562000 w 12193200"/>
                <a:gd name="connsiteY6" fmla="*/ 567852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5678521"/>
                  </a:lnTo>
                  <a:lnTo>
                    <a:pt x="629400" y="5678521"/>
                  </a:lnTo>
                  <a:lnTo>
                    <a:pt x="629400" y="6583680"/>
                  </a:lnTo>
                  <a:lnTo>
                    <a:pt x="11562600" y="6583680"/>
                  </a:lnTo>
                  <a:lnTo>
                    <a:pt x="11562600" y="5678521"/>
                  </a:lnTo>
                  <a:lnTo>
                    <a:pt x="11562000" y="567852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  <a:alpha val="5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6" name="Group 55"/>
            <p:cNvGrpSpPr/>
            <p:nvPr/>
          </p:nvGrpSpPr>
          <p:grpSpPr>
            <a:xfrm>
              <a:off x="-600" y="622800"/>
              <a:ext cx="12193200" cy="5055720"/>
              <a:chOff x="-600" y="622800"/>
              <a:chExt cx="12193200" cy="5055720"/>
            </a:xfrm>
          </p:grpSpPr>
          <p:cxnSp>
            <p:nvCxnSpPr>
              <p:cNvPr id="116" name="Straight Connector 115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/>
            </p:nvCxnSpPr>
            <p:spPr>
              <a:xfrm>
                <a:off x="-600" y="92019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/>
            </p:nvCxnSpPr>
            <p:spPr>
              <a:xfrm>
                <a:off x="-600" y="121759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/>
            </p:nvCxnSpPr>
            <p:spPr>
              <a:xfrm>
                <a:off x="-600" y="151498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/>
            </p:nvCxnSpPr>
            <p:spPr>
              <a:xfrm>
                <a:off x="-600" y="181238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/>
            </p:nvCxnSpPr>
            <p:spPr>
              <a:xfrm>
                <a:off x="-600" y="210977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/>
            </p:nvCxnSpPr>
            <p:spPr>
              <a:xfrm>
                <a:off x="-600" y="240717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/>
            </p:nvCxnSpPr>
            <p:spPr>
              <a:xfrm>
                <a:off x="-600" y="27045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/>
            </p:nvCxnSpPr>
            <p:spPr>
              <a:xfrm>
                <a:off x="-600" y="300196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/>
            </p:nvCxnSpPr>
            <p:spPr>
              <a:xfrm>
                <a:off x="-600" y="32993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/>
            </p:nvCxnSpPr>
            <p:spPr>
              <a:xfrm>
                <a:off x="-600" y="359675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/>
            </p:nvCxnSpPr>
            <p:spPr>
              <a:xfrm>
                <a:off x="-600" y="389414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-600" y="419154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-600" y="448893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-600" y="478633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-600" y="508372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/>
            </p:nvCxnSpPr>
            <p:spPr>
              <a:xfrm>
                <a:off x="-600" y="53811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/>
            </p:nvCxnSpPr>
            <p:spPr>
              <a:xfrm>
                <a:off x="-600" y="56785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3" name="Group 92"/>
            <p:cNvGrpSpPr/>
            <p:nvPr/>
          </p:nvGrpSpPr>
          <p:grpSpPr>
            <a:xfrm>
              <a:off x="629400" y="623550"/>
              <a:ext cx="10933200" cy="5054970"/>
              <a:chOff x="629400" y="623550"/>
              <a:chExt cx="10933200" cy="5537047"/>
            </a:xfrm>
          </p:grpSpPr>
          <p:sp>
            <p:nvSpPr>
              <p:cNvPr id="100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4" name="Group 93"/>
            <p:cNvGrpSpPr/>
            <p:nvPr/>
          </p:nvGrpSpPr>
          <p:grpSpPr>
            <a:xfrm>
              <a:off x="-600" y="0"/>
              <a:ext cx="12193200" cy="6858000"/>
              <a:chOff x="-600" y="0"/>
              <a:chExt cx="12193200" cy="6858000"/>
            </a:xfrm>
          </p:grpSpPr>
          <p:sp>
            <p:nvSpPr>
              <p:cNvPr id="95" name="Slide edges"/>
              <p:cNvSpPr>
                <a:spLocks/>
              </p:cNvSpPr>
              <p:nvPr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96" name="Footnote measure"/>
              <p:cNvSpPr>
                <a:spLocks noChangeArrowheads="1"/>
              </p:cNvSpPr>
              <p:nvPr/>
            </p:nvSpPr>
            <p:spPr bwMode="auto">
              <a:xfrm>
                <a:off x="629400" y="5678521"/>
                <a:ext cx="10933200" cy="905159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Whitespace measure"/>
              <p:cNvSpPr>
                <a:spLocks noChangeArrowheads="1"/>
              </p:cNvSpPr>
              <p:nvPr/>
            </p:nvSpPr>
            <p:spPr bwMode="auto">
              <a:xfrm>
                <a:off x="629400" y="1514985"/>
                <a:ext cx="10932229" cy="59479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Live area"/>
              <p:cNvSpPr/>
              <p:nvPr/>
            </p:nvSpPr>
            <p:spPr>
              <a:xfrm>
                <a:off x="629400" y="2109775"/>
                <a:ext cx="10933200" cy="3568747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D1B24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Footnote example"/>
              <p:cNvSpPr txBox="1"/>
              <p:nvPr/>
            </p:nvSpPr>
            <p:spPr>
              <a:xfrm>
                <a:off x="630000" y="5678521"/>
                <a:ext cx="9030914" cy="3323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1. xxxx  2. xxxx  3. List footnotes in numerical order. Footnote numbers are not bracketed. Use 8pt font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Note: Do not put a period at the end of the note or the source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Source: Include a source for every chart that you use. Separate sources with a semicolon; BCG-related sources go at the end</a:t>
                </a: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sym typeface="Trebuchet MS" panose="020B0603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72711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256DD11-030E-4276-B7F9-8800AF6ADF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  <a:endParaRPr lang="en-IN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80C3700-E3C2-478C-8875-962D0768B7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67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332399"/>
          </a:xfr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1420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7055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704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91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86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998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8060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90627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5804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8963372" cy="292100"/>
          </a:xfrm>
          <a:custGeom>
            <a:avLst/>
            <a:gdLst>
              <a:gd name="connsiteX0" fmla="*/ 0 w 8963372"/>
              <a:gd name="connsiteY0" fmla="*/ 0 h 292100"/>
              <a:gd name="connsiteX1" fmla="*/ 8963372 w 8963372"/>
              <a:gd name="connsiteY1" fmla="*/ 0 h 292100"/>
              <a:gd name="connsiteX2" fmla="*/ 8963372 w 8963372"/>
              <a:gd name="connsiteY2" fmla="*/ 292100 h 292100"/>
              <a:gd name="connsiteX3" fmla="*/ 0 w 8963372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63372" h="292100">
                <a:moveTo>
                  <a:pt x="0" y="0"/>
                </a:moveTo>
                <a:lnTo>
                  <a:pt x="8963372" y="0"/>
                </a:lnTo>
                <a:lnTo>
                  <a:pt x="896337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5644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036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1016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3948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1330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6524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2570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3089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F85A58E-D75D-5D70-FC81-2C42B9D8790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981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9874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881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0305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804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4994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049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241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640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7703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8891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Rectangle 1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EF2427">
                  <a:shade val="30000"/>
                  <a:satMod val="115000"/>
                  <a:alpha val="76000"/>
                </a:srgbClr>
              </a:gs>
              <a:gs pos="100000">
                <a:srgbClr val="ED1B24">
                  <a:alpha val="61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2328" y="2992637"/>
            <a:ext cx="3062417" cy="796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532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119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7757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/>
          <a:srcRect l="1079" t="8722" r="1079" b="8722"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Rectangle 1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EF2427">
                  <a:shade val="30000"/>
                  <a:satMod val="115000"/>
                  <a:alpha val="76000"/>
                </a:srgbClr>
              </a:gs>
              <a:gs pos="100000">
                <a:srgbClr val="ED1B24">
                  <a:alpha val="61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2328" y="2992637"/>
            <a:ext cx="3062417" cy="796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140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9" name="Freeform 48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5678521 h 6858000"/>
                <a:gd name="connsiteX2" fmla="*/ 629400 w 12193200"/>
                <a:gd name="connsiteY2" fmla="*/ 5678521 h 6858000"/>
                <a:gd name="connsiteX3" fmla="*/ 629400 w 12193200"/>
                <a:gd name="connsiteY3" fmla="*/ 6583680 h 6858000"/>
                <a:gd name="connsiteX4" fmla="*/ 11562600 w 12193200"/>
                <a:gd name="connsiteY4" fmla="*/ 6583680 h 6858000"/>
                <a:gd name="connsiteX5" fmla="*/ 11562600 w 12193200"/>
                <a:gd name="connsiteY5" fmla="*/ 5678521 h 6858000"/>
                <a:gd name="connsiteX6" fmla="*/ 11562000 w 12193200"/>
                <a:gd name="connsiteY6" fmla="*/ 567852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5678521"/>
                  </a:lnTo>
                  <a:lnTo>
                    <a:pt x="629400" y="5678521"/>
                  </a:lnTo>
                  <a:lnTo>
                    <a:pt x="629400" y="6583680"/>
                  </a:lnTo>
                  <a:lnTo>
                    <a:pt x="11562600" y="6583680"/>
                  </a:lnTo>
                  <a:lnTo>
                    <a:pt x="11562600" y="5678521"/>
                  </a:lnTo>
                  <a:lnTo>
                    <a:pt x="11562000" y="567852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  <a:alpha val="5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0" name="Group 49"/>
            <p:cNvGrpSpPr/>
            <p:nvPr/>
          </p:nvGrpSpPr>
          <p:grpSpPr>
            <a:xfrm>
              <a:off x="-600" y="622800"/>
              <a:ext cx="12193200" cy="5055720"/>
              <a:chOff x="-600" y="622800"/>
              <a:chExt cx="12193200" cy="5055720"/>
            </a:xfrm>
          </p:grpSpPr>
          <p:cxnSp>
            <p:nvCxnSpPr>
              <p:cNvPr id="74" name="Straight Connector 73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/>
            </p:nvCxnSpPr>
            <p:spPr>
              <a:xfrm>
                <a:off x="-600" y="92019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/>
            </p:nvCxnSpPr>
            <p:spPr>
              <a:xfrm>
                <a:off x="-600" y="121759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/>
            </p:nvCxnSpPr>
            <p:spPr>
              <a:xfrm>
                <a:off x="-600" y="151498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-600" y="181238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-600" y="210977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-600" y="240717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-600" y="27045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-600" y="300196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-600" y="32993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-600" y="359675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-600" y="389414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-600" y="419154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-600" y="448893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-600" y="478633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-600" y="508372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-600" y="53811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-600" y="56785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/>
          </p:nvGrpSpPr>
          <p:grpSpPr>
            <a:xfrm>
              <a:off x="629400" y="623550"/>
              <a:ext cx="10933200" cy="5054970"/>
              <a:chOff x="629400" y="623550"/>
              <a:chExt cx="10933200" cy="5537047"/>
            </a:xfrm>
          </p:grpSpPr>
          <p:sp>
            <p:nvSpPr>
              <p:cNvPr id="58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-600" y="0"/>
              <a:ext cx="12193200" cy="6858000"/>
              <a:chOff x="-600" y="0"/>
              <a:chExt cx="12193200" cy="6858000"/>
            </a:xfrm>
          </p:grpSpPr>
          <p:sp>
            <p:nvSpPr>
              <p:cNvPr id="53" name="Slide edges"/>
              <p:cNvSpPr>
                <a:spLocks/>
              </p:cNvSpPr>
              <p:nvPr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54" name="Footnote measure"/>
              <p:cNvSpPr>
                <a:spLocks noChangeArrowheads="1"/>
              </p:cNvSpPr>
              <p:nvPr/>
            </p:nvSpPr>
            <p:spPr bwMode="auto">
              <a:xfrm>
                <a:off x="629400" y="5678521"/>
                <a:ext cx="10933200" cy="905159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Whitespace measure"/>
              <p:cNvSpPr>
                <a:spLocks noChangeArrowheads="1"/>
              </p:cNvSpPr>
              <p:nvPr/>
            </p:nvSpPr>
            <p:spPr bwMode="auto">
              <a:xfrm>
                <a:off x="629400" y="1514985"/>
                <a:ext cx="10932229" cy="59479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Live area"/>
              <p:cNvSpPr/>
              <p:nvPr/>
            </p:nvSpPr>
            <p:spPr>
              <a:xfrm>
                <a:off x="629400" y="2109775"/>
                <a:ext cx="10933200" cy="3568747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D1B24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Footnote example"/>
              <p:cNvSpPr txBox="1"/>
              <p:nvPr/>
            </p:nvSpPr>
            <p:spPr>
              <a:xfrm>
                <a:off x="630000" y="5678521"/>
                <a:ext cx="9030914" cy="3323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1. xxxx  2. xxxx  3. List footnotes in numerical order. Footnote numbers are not bracketed. Use 8pt font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Note: Do not put a period at the end of the note or the source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Source: Include a source for every chart that you use. Separate sources with a semicolon; BCG-related sources go at the end</a:t>
                </a: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sym typeface="Trebuchet MS" panose="020B0603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41339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805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5668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0639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2667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26165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20545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5" name="Freeform 54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5678521 h 6858000"/>
                <a:gd name="connsiteX2" fmla="*/ 629400 w 12193200"/>
                <a:gd name="connsiteY2" fmla="*/ 5678521 h 6858000"/>
                <a:gd name="connsiteX3" fmla="*/ 629400 w 12193200"/>
                <a:gd name="connsiteY3" fmla="*/ 6583680 h 6858000"/>
                <a:gd name="connsiteX4" fmla="*/ 11562600 w 12193200"/>
                <a:gd name="connsiteY4" fmla="*/ 6583680 h 6858000"/>
                <a:gd name="connsiteX5" fmla="*/ 11562600 w 12193200"/>
                <a:gd name="connsiteY5" fmla="*/ 5678521 h 6858000"/>
                <a:gd name="connsiteX6" fmla="*/ 11562000 w 12193200"/>
                <a:gd name="connsiteY6" fmla="*/ 567852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5678521"/>
                  </a:lnTo>
                  <a:lnTo>
                    <a:pt x="629400" y="5678521"/>
                  </a:lnTo>
                  <a:lnTo>
                    <a:pt x="629400" y="6583680"/>
                  </a:lnTo>
                  <a:lnTo>
                    <a:pt x="11562600" y="6583680"/>
                  </a:lnTo>
                  <a:lnTo>
                    <a:pt x="11562600" y="5678521"/>
                  </a:lnTo>
                  <a:lnTo>
                    <a:pt x="11562000" y="567852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  <a:alpha val="5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6" name="Group 55"/>
            <p:cNvGrpSpPr/>
            <p:nvPr/>
          </p:nvGrpSpPr>
          <p:grpSpPr>
            <a:xfrm>
              <a:off x="-600" y="622800"/>
              <a:ext cx="12193200" cy="5055720"/>
              <a:chOff x="-600" y="622800"/>
              <a:chExt cx="12193200" cy="5055720"/>
            </a:xfrm>
          </p:grpSpPr>
          <p:cxnSp>
            <p:nvCxnSpPr>
              <p:cNvPr id="116" name="Straight Connector 115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/>
            </p:nvCxnSpPr>
            <p:spPr>
              <a:xfrm>
                <a:off x="-600" y="92019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/>
            </p:nvCxnSpPr>
            <p:spPr>
              <a:xfrm>
                <a:off x="-600" y="121759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/>
            </p:nvCxnSpPr>
            <p:spPr>
              <a:xfrm>
                <a:off x="-600" y="151498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/>
            </p:nvCxnSpPr>
            <p:spPr>
              <a:xfrm>
                <a:off x="-600" y="181238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/>
            </p:nvCxnSpPr>
            <p:spPr>
              <a:xfrm>
                <a:off x="-600" y="210977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/>
            </p:nvCxnSpPr>
            <p:spPr>
              <a:xfrm>
                <a:off x="-600" y="240717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/>
            </p:nvCxnSpPr>
            <p:spPr>
              <a:xfrm>
                <a:off x="-600" y="27045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/>
            </p:nvCxnSpPr>
            <p:spPr>
              <a:xfrm>
                <a:off x="-600" y="300196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/>
            </p:nvCxnSpPr>
            <p:spPr>
              <a:xfrm>
                <a:off x="-600" y="32993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/>
            </p:nvCxnSpPr>
            <p:spPr>
              <a:xfrm>
                <a:off x="-600" y="359675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/>
            </p:nvCxnSpPr>
            <p:spPr>
              <a:xfrm>
                <a:off x="-600" y="389414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-600" y="419154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-600" y="448893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-600" y="478633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-600" y="508372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/>
            </p:nvCxnSpPr>
            <p:spPr>
              <a:xfrm>
                <a:off x="-600" y="53811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/>
            </p:nvCxnSpPr>
            <p:spPr>
              <a:xfrm>
                <a:off x="-600" y="56785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3" name="Group 92"/>
            <p:cNvGrpSpPr/>
            <p:nvPr/>
          </p:nvGrpSpPr>
          <p:grpSpPr>
            <a:xfrm>
              <a:off x="629400" y="623550"/>
              <a:ext cx="10933200" cy="5054970"/>
              <a:chOff x="629400" y="623550"/>
              <a:chExt cx="10933200" cy="5537047"/>
            </a:xfrm>
          </p:grpSpPr>
          <p:sp>
            <p:nvSpPr>
              <p:cNvPr id="100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4" name="Group 93"/>
            <p:cNvGrpSpPr/>
            <p:nvPr/>
          </p:nvGrpSpPr>
          <p:grpSpPr>
            <a:xfrm>
              <a:off x="-600" y="0"/>
              <a:ext cx="12193200" cy="6858000"/>
              <a:chOff x="-600" y="0"/>
              <a:chExt cx="12193200" cy="6858000"/>
            </a:xfrm>
          </p:grpSpPr>
          <p:sp>
            <p:nvSpPr>
              <p:cNvPr id="95" name="Slide edges"/>
              <p:cNvSpPr>
                <a:spLocks/>
              </p:cNvSpPr>
              <p:nvPr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96" name="Footnote measure"/>
              <p:cNvSpPr>
                <a:spLocks noChangeArrowheads="1"/>
              </p:cNvSpPr>
              <p:nvPr/>
            </p:nvSpPr>
            <p:spPr bwMode="auto">
              <a:xfrm>
                <a:off x="629400" y="5678521"/>
                <a:ext cx="10933200" cy="905159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Whitespace measure"/>
              <p:cNvSpPr>
                <a:spLocks noChangeArrowheads="1"/>
              </p:cNvSpPr>
              <p:nvPr/>
            </p:nvSpPr>
            <p:spPr bwMode="auto">
              <a:xfrm>
                <a:off x="629400" y="1514985"/>
                <a:ext cx="10932229" cy="59479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Live area"/>
              <p:cNvSpPr/>
              <p:nvPr/>
            </p:nvSpPr>
            <p:spPr>
              <a:xfrm>
                <a:off x="629400" y="2109775"/>
                <a:ext cx="10933200" cy="3568747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D1B24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Footnote example"/>
              <p:cNvSpPr txBox="1"/>
              <p:nvPr/>
            </p:nvSpPr>
            <p:spPr>
              <a:xfrm>
                <a:off x="630000" y="5678521"/>
                <a:ext cx="9030914" cy="3323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1. xxxx  2. xxxx  3. List footnotes in numerical order. Footnote numbers are not bracketed. Use 8pt font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Note: Do not put a period at the end of the note or the source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Source: Include a source for every chart that you use. Separate sources with a semicolon; BCG-related sources go at the end</a:t>
                </a: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sym typeface="Trebuchet MS" panose="020B0603020202020204" pitchFamily="34" charset="0"/>
                </a:endParaRPr>
              </a:p>
            </p:txBody>
          </p:sp>
        </p:grp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DD80BFC9-733C-8AC6-C9DC-C6978C63503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859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95591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2281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8764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4DB36A4-3C22-4171-A7C0-131095FDCC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4DB36A4-3C22-4171-A7C0-131095FDCC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1" y="-1309"/>
            <a:ext cx="3252485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8C8680F0-21E4-46C4-A4F9-6D480C873D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6539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4900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hape, arrow&#10;&#10;Description automatically generated">
            <a:extLst>
              <a:ext uri="{FF2B5EF4-FFF2-40B4-BE49-F238E27FC236}">
                <a16:creationId xmlns:a16="http://schemas.microsoft.com/office/drawing/2014/main" id="{25B3A1BF-2D23-4451-ACED-D5F0B5EEB9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338" y="-8878"/>
            <a:ext cx="9821662" cy="5898388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CEBA0BBB-DA2B-4CCE-B833-F2E6D48601E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06244" y="3783412"/>
            <a:ext cx="7531224" cy="147438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ject to be mentioned her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CA3982-65BB-4677-8CCF-2A0BBF118F5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A4C273E-5FF8-44D3-91B8-B656DBC5299B}" type="datetimeFigureOut">
              <a:rPr lang="en-IN" smtClean="0"/>
              <a:t>07/06/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75386F-B8FD-4182-A27D-1EA34D9C38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854E3252-1DD7-4C7F-8672-F545900F7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322" y="1161478"/>
            <a:ext cx="4984140" cy="147438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6D3E6E0-F14D-43C0-BBB3-CF7AAA7CDD6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82508" y="4515229"/>
            <a:ext cx="109491" cy="2342771"/>
          </a:xfrm>
          <a:prstGeom prst="rect">
            <a:avLst/>
          </a:prstGeom>
        </p:spPr>
      </p:pic>
      <p:sp>
        <p:nvSpPr>
          <p:cNvPr id="13" name="Rectangle 2">
            <a:extLst>
              <a:ext uri="{FF2B5EF4-FFF2-40B4-BE49-F238E27FC236}">
                <a16:creationId xmlns:a16="http://schemas.microsoft.com/office/drawing/2014/main" id="{EFE6B8CB-A528-408D-B686-39B13D28732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IN"/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EBAB3A67-0CB1-4A44-966F-C472CC93D8D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812414" y="5338583"/>
            <a:ext cx="1932743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r"/>
                <a:tab pos="2971800" algn="ctr"/>
                <a:tab pos="59436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r"/>
                <a:tab pos="2971800" algn="ctr"/>
                <a:tab pos="59436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r"/>
                <a:tab pos="2971800" algn="ctr"/>
                <a:tab pos="59436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r"/>
                <a:tab pos="2971800" algn="ctr"/>
                <a:tab pos="59436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r"/>
                <a:tab pos="2971800" algn="ctr"/>
                <a:tab pos="59436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r"/>
                <a:tab pos="2971800" algn="ctr"/>
                <a:tab pos="59436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r"/>
                <a:tab pos="2971800" algn="ctr"/>
                <a:tab pos="59436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r"/>
                <a:tab pos="2971800" algn="ctr"/>
                <a:tab pos="59436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r"/>
                <a:tab pos="2971800" algn="ctr"/>
                <a:tab pos="59436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r"/>
                <a:tab pos="2971800" algn="ctr"/>
                <a:tab pos="5943600" algn="r"/>
              </a:tabLst>
            </a:pPr>
            <a:r>
              <a:rPr kumimoji="0" lang="en-GB" altLang="zh-CN" sz="12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Gotham Medium"/>
              </a:rPr>
              <a:t>Exide Energy Solutions Ltd</a:t>
            </a:r>
            <a:endParaRPr kumimoji="0" lang="en-GB" altLang="zh-CN" sz="105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r"/>
                <a:tab pos="2971800" algn="ctr"/>
                <a:tab pos="5943600" algn="r"/>
              </a:tabLst>
            </a:pPr>
            <a:r>
              <a:rPr kumimoji="0" lang="en-GB" altLang="zh-CN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Gotham Light"/>
              </a:rPr>
              <a:t>59E, </a:t>
            </a:r>
            <a:r>
              <a:rPr kumimoji="0" lang="en-GB" altLang="zh-CN" sz="12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Gotham Light"/>
              </a:rPr>
              <a:t>Chowringhee</a:t>
            </a:r>
            <a:r>
              <a:rPr kumimoji="0" lang="en-GB" altLang="zh-CN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Gotham Light"/>
              </a:rPr>
              <a:t> Road</a:t>
            </a:r>
            <a:endParaRPr kumimoji="0" lang="en-GB" altLang="zh-CN" sz="105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r"/>
                <a:tab pos="2971800" algn="ctr"/>
                <a:tab pos="5943600" algn="r"/>
              </a:tabLst>
            </a:pPr>
            <a:r>
              <a:rPr kumimoji="0" lang="en-GB" altLang="zh-CN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Gotham Light"/>
              </a:rPr>
              <a:t>Kolkata 700 020</a:t>
            </a:r>
            <a:endParaRPr kumimoji="0" lang="en-GB" altLang="zh-CN" sz="105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r"/>
                <a:tab pos="2971800" algn="ctr"/>
                <a:tab pos="5943600" algn="r"/>
              </a:tabLst>
            </a:pPr>
            <a:r>
              <a:rPr kumimoji="0" lang="en-GB" altLang="zh-CN" sz="1200" b="1" i="0" u="none" strike="noStrike" cap="none" normalizeH="0" baseline="0">
                <a:ln>
                  <a:noFill/>
                </a:ln>
                <a:solidFill>
                  <a:srgbClr val="FF0000"/>
                </a:solidFill>
                <a:effectLst/>
                <a:latin typeface="Gotham Bold"/>
                <a:ea typeface="DengXian" panose="02010600030101010101" pitchFamily="2" charset="-122"/>
                <a:cs typeface="Gotham Light"/>
              </a:rPr>
              <a:t>T </a:t>
            </a:r>
            <a:r>
              <a:rPr kumimoji="0" lang="en-GB" altLang="zh-CN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Gotham Light"/>
              </a:rPr>
              <a:t>	(033) 2302 3400</a:t>
            </a:r>
            <a:endParaRPr kumimoji="0" lang="en-GB" altLang="zh-CN" sz="105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r"/>
                <a:tab pos="2971800" algn="ctr"/>
                <a:tab pos="5943600" algn="r"/>
              </a:tabLst>
            </a:pPr>
            <a:r>
              <a:rPr kumimoji="0" lang="en-GB" altLang="zh-CN" sz="1200" b="1" i="0" u="none" strike="noStrike" cap="none" normalizeH="0" baseline="0">
                <a:ln>
                  <a:noFill/>
                </a:ln>
                <a:solidFill>
                  <a:srgbClr val="FF0000"/>
                </a:solidFill>
                <a:effectLst/>
                <a:latin typeface="Gotham Bold"/>
                <a:ea typeface="DengXian" panose="02010600030101010101" pitchFamily="2" charset="-122"/>
                <a:cs typeface="Gotham Light"/>
              </a:rPr>
              <a:t>F </a:t>
            </a:r>
            <a:r>
              <a:rPr kumimoji="0" lang="en-GB" altLang="zh-CN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Gotham Light"/>
              </a:rPr>
              <a:t>	(033) 2283 2637</a:t>
            </a:r>
            <a:endParaRPr kumimoji="0" lang="en-GB" altLang="zh-CN" sz="105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r"/>
                <a:tab pos="2971800" algn="ctr"/>
                <a:tab pos="5943600" algn="r"/>
              </a:tabLst>
            </a:pPr>
            <a:r>
              <a:rPr kumimoji="0" lang="en-GB" altLang="zh-CN" sz="1200" b="1" i="0" u="none" strike="noStrike" cap="none" normalizeH="0" baseline="0">
                <a:ln>
                  <a:noFill/>
                </a:ln>
                <a:solidFill>
                  <a:srgbClr val="FF0000"/>
                </a:solidFill>
                <a:effectLst/>
                <a:latin typeface="Gotham Bold"/>
                <a:ea typeface="DengXian" panose="02010600030101010101" pitchFamily="2" charset="-122"/>
                <a:cs typeface="Gotham Light"/>
              </a:rPr>
              <a:t>W </a:t>
            </a:r>
            <a:r>
              <a:rPr kumimoji="0" lang="en-GB" altLang="zh-CN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Gotham Light"/>
              </a:rPr>
              <a:t>	www.exideenergy.com</a:t>
            </a:r>
            <a:endParaRPr kumimoji="0" lang="en-GB" altLang="zh-CN" sz="2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3038210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ient Agenda Section Header">
    <p:bg>
      <p:bgPr>
        <a:solidFill>
          <a:srgbClr val="ED1C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0881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391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</p:spPr>
        <p:txBody>
          <a:bodyPr vert="horz"/>
          <a:lstStyle>
            <a:lvl1pPr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1786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7317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header box">
    <p:bg bwMode="gray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1130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67AA60E-3654-D959-BA31-43DFBC4DB05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3946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256DD11-030E-4276-B7F9-8800AF6ADF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  <a:endParaRPr lang="en-IN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80C3700-E3C2-478C-8875-962D0768B7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72ACFA5-99E3-D763-1984-AD5ABE628052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998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51528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6821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1545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half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2088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two third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9797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3565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795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5697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8335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1050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332399"/>
          </a:xfr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7115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231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0602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169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6970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4426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506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652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3412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8140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332399"/>
          </a:xfr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101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D9F3F62-C0AA-1FC3-9A57-A04C8C535F8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192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647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670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9494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0224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90627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698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Four column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8963372" cy="292100"/>
          </a:xfrm>
          <a:custGeom>
            <a:avLst/>
            <a:gdLst>
              <a:gd name="connsiteX0" fmla="*/ 0 w 8963372"/>
              <a:gd name="connsiteY0" fmla="*/ 0 h 292100"/>
              <a:gd name="connsiteX1" fmla="*/ 8963372 w 8963372"/>
              <a:gd name="connsiteY1" fmla="*/ 0 h 292100"/>
              <a:gd name="connsiteX2" fmla="*/ 8963372 w 8963372"/>
              <a:gd name="connsiteY2" fmla="*/ 292100 h 292100"/>
              <a:gd name="connsiteX3" fmla="*/ 0 w 8963372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63372" h="292100">
                <a:moveTo>
                  <a:pt x="0" y="0"/>
                </a:moveTo>
                <a:lnTo>
                  <a:pt x="8963372" y="0"/>
                </a:lnTo>
                <a:lnTo>
                  <a:pt x="896337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53615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5956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half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941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two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3449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4168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550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791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5614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365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4097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897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7985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756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6198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654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41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6938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003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. 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09455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6226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80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Section Header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2836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Section Header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3613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Full Width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2668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9240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0521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19903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40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92319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D.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3025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316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4DB36A4-3C22-4171-A7C0-131095FDCC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4DB36A4-3C22-4171-A7C0-131095FDCC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1" y="-1309"/>
            <a:ext cx="3252485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8C8680F0-21E4-46C4-A4F9-6D480C873D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6539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56029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286958-D78A-4899-49D2-0A0F00C62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26D3A4-88E6-1405-A825-5BD3411227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9469F6-ECB5-55B3-DE85-131F06127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33DAFA-91E5-5041-8A6F-F1954D78DFD6}" type="datetimeFigureOut">
              <a:rPr lang="en-US" smtClean="0"/>
              <a:t>6/7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778E1E-89E1-FD6B-61D9-E5363A4749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273657-82BE-4D2A-0305-36B5D0E48C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056B8F-DFAE-E646-BC01-2038911031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2808505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256DD11-030E-4276-B7F9-8800AF6ADF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  <a:endParaRPr lang="en-IN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780C3700-E3C2-478C-8875-962D0768B7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677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ient Agenda Section Header">
    <p:bg>
      <p:bgPr>
        <a:solidFill>
          <a:srgbClr val="ED1C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184F831-12B7-CFFC-5ECC-2FD2DCAA407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8388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2745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</p:spPr>
        <p:txBody>
          <a:bodyPr vert="horz"/>
          <a:lstStyle>
            <a:lvl1pPr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907184E-AFAB-99F6-DDDE-8E3BE80A1BF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447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67AA60E-3654-D959-BA31-43DFBC4DB05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939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691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header box">
    <p:bg bwMode="gray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0BF56D4-B310-9819-70DA-20B188CC0C1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341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ent Agenda Section Header">
    <p:bg>
      <p:bgPr>
        <a:solidFill>
          <a:srgbClr val="ED1C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A96FFF1-3411-9ED3-6C85-F125BCB3E079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260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8880E3D-E585-6271-B805-8E14AA53F9C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153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</p:spPr>
        <p:txBody>
          <a:bodyPr vert="horz"/>
          <a:lstStyle>
            <a:lvl1pPr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DB02CB0-0C0F-CB91-8D66-A9A43B7C8EB5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328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07C621B-ED76-E53B-0043-0D768F640AA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8351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6588E9D-ED9F-FF74-FBB8-21345D8A059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294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B33C809-71F9-17FC-D6B9-1EE5E63AF70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08824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606C798-40AD-5A56-4FFD-CB1F8C216885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77449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41034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8400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756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half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B78FE70-ADC3-F2CF-CE94-9554B562AA0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9168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two third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81CC2D0-A68F-DA4D-7859-8839BE51FDFE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0939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6844B9B-4A74-3C0F-7DB2-F1D96016F36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3439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651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AB9F15A-AEA9-C779-4016-955A0930644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9037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2630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DFEFC1B-606F-0A66-A959-8764256B148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4923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6BC1DFD-B8B3-5774-A91A-8F0BB6823D0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2578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11723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F90FA3-99B6-C9F9-B8B8-2E27B062F1D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2661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90627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3490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2188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1B21896-EAB5-4C84-9777-D571923E58A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449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859AD71-7DAC-68A7-E7F0-703BB2AEB455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5816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7405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81672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59678DE-1A46-078F-B225-925D36C3B04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7506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74B6783-CBED-E5A1-42A6-ABB2525166C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6065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D1107DB-AC76-7ED9-B8A6-7DEBE0A83EC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3645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AEBEAFB-A37D-F161-149A-230A6BD71BC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9270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86F8952-E77E-F572-7195-CAECC288880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9132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8963372" cy="292100"/>
          </a:xfrm>
          <a:custGeom>
            <a:avLst/>
            <a:gdLst>
              <a:gd name="connsiteX0" fmla="*/ 0 w 8963372"/>
              <a:gd name="connsiteY0" fmla="*/ 0 h 292100"/>
              <a:gd name="connsiteX1" fmla="*/ 8963372 w 8963372"/>
              <a:gd name="connsiteY1" fmla="*/ 0 h 292100"/>
              <a:gd name="connsiteX2" fmla="*/ 8963372 w 8963372"/>
              <a:gd name="connsiteY2" fmla="*/ 292100 h 292100"/>
              <a:gd name="connsiteX3" fmla="*/ 0 w 8963372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63372" h="292100">
                <a:moveTo>
                  <a:pt x="0" y="0"/>
                </a:moveTo>
                <a:lnTo>
                  <a:pt x="8963372" y="0"/>
                </a:lnTo>
                <a:lnTo>
                  <a:pt x="896337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99478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B1129B2-5706-A8A0-7CDD-E7E2F79B74E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9102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5793518-F919-A3CC-C5FE-FADFF99ADC3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117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22C46E9-E7B3-5C45-0C76-40086F145CB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4020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913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295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751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3E69160-D908-1E40-60FC-DAFFFE47FA8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59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11" b="-40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70BA20F-1828-02F0-A715-FDB384BE550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227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6CCCB5E-9443-D579-AAE7-913AE596B591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115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5274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header box">
    <p:bg bwMode="gray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0BF56D4-B310-9819-70DA-20B188CC0C1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112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436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01358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1621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035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674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72014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F85A58E-D75D-5D70-FC81-2C42B9D8790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8648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Rectangle 1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EF2427">
                  <a:shade val="30000"/>
                  <a:satMod val="115000"/>
                  <a:alpha val="76000"/>
                </a:srgbClr>
              </a:gs>
              <a:gs pos="100000">
                <a:srgbClr val="ED1B24">
                  <a:alpha val="61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2328" y="2992637"/>
            <a:ext cx="3062417" cy="796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4250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5" name="Freeform 54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5678521 h 6858000"/>
                <a:gd name="connsiteX2" fmla="*/ 629400 w 12193200"/>
                <a:gd name="connsiteY2" fmla="*/ 5678521 h 6858000"/>
                <a:gd name="connsiteX3" fmla="*/ 629400 w 12193200"/>
                <a:gd name="connsiteY3" fmla="*/ 6583680 h 6858000"/>
                <a:gd name="connsiteX4" fmla="*/ 11562600 w 12193200"/>
                <a:gd name="connsiteY4" fmla="*/ 6583680 h 6858000"/>
                <a:gd name="connsiteX5" fmla="*/ 11562600 w 12193200"/>
                <a:gd name="connsiteY5" fmla="*/ 5678521 h 6858000"/>
                <a:gd name="connsiteX6" fmla="*/ 11562000 w 12193200"/>
                <a:gd name="connsiteY6" fmla="*/ 567852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5678521"/>
                  </a:lnTo>
                  <a:lnTo>
                    <a:pt x="629400" y="5678521"/>
                  </a:lnTo>
                  <a:lnTo>
                    <a:pt x="629400" y="6583680"/>
                  </a:lnTo>
                  <a:lnTo>
                    <a:pt x="11562600" y="6583680"/>
                  </a:lnTo>
                  <a:lnTo>
                    <a:pt x="11562600" y="5678521"/>
                  </a:lnTo>
                  <a:lnTo>
                    <a:pt x="11562000" y="567852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  <a:alpha val="5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6" name="Group 55"/>
            <p:cNvGrpSpPr/>
            <p:nvPr/>
          </p:nvGrpSpPr>
          <p:grpSpPr>
            <a:xfrm>
              <a:off x="-600" y="622800"/>
              <a:ext cx="12193200" cy="5055720"/>
              <a:chOff x="-600" y="622800"/>
              <a:chExt cx="12193200" cy="5055720"/>
            </a:xfrm>
          </p:grpSpPr>
          <p:cxnSp>
            <p:nvCxnSpPr>
              <p:cNvPr id="116" name="Straight Connector 115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/>
            </p:nvCxnSpPr>
            <p:spPr>
              <a:xfrm>
                <a:off x="-600" y="92019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/>
            </p:nvCxnSpPr>
            <p:spPr>
              <a:xfrm>
                <a:off x="-600" y="121759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/>
            </p:nvCxnSpPr>
            <p:spPr>
              <a:xfrm>
                <a:off x="-600" y="151498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/>
            </p:nvCxnSpPr>
            <p:spPr>
              <a:xfrm>
                <a:off x="-600" y="181238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/>
            </p:nvCxnSpPr>
            <p:spPr>
              <a:xfrm>
                <a:off x="-600" y="210977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/>
            </p:nvCxnSpPr>
            <p:spPr>
              <a:xfrm>
                <a:off x="-600" y="240717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/>
            </p:nvCxnSpPr>
            <p:spPr>
              <a:xfrm>
                <a:off x="-600" y="27045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/>
            </p:nvCxnSpPr>
            <p:spPr>
              <a:xfrm>
                <a:off x="-600" y="300196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/>
            </p:nvCxnSpPr>
            <p:spPr>
              <a:xfrm>
                <a:off x="-600" y="32993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/>
            </p:nvCxnSpPr>
            <p:spPr>
              <a:xfrm>
                <a:off x="-600" y="359675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/>
            </p:nvCxnSpPr>
            <p:spPr>
              <a:xfrm>
                <a:off x="-600" y="389414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-600" y="419154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-600" y="448893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-600" y="478633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-600" y="508372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/>
            </p:nvCxnSpPr>
            <p:spPr>
              <a:xfrm>
                <a:off x="-600" y="53811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/>
            </p:nvCxnSpPr>
            <p:spPr>
              <a:xfrm>
                <a:off x="-600" y="56785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3" name="Group 92"/>
            <p:cNvGrpSpPr/>
            <p:nvPr/>
          </p:nvGrpSpPr>
          <p:grpSpPr>
            <a:xfrm>
              <a:off x="629400" y="623550"/>
              <a:ext cx="10933200" cy="5054970"/>
              <a:chOff x="629400" y="623550"/>
              <a:chExt cx="10933200" cy="5537047"/>
            </a:xfrm>
          </p:grpSpPr>
          <p:sp>
            <p:nvSpPr>
              <p:cNvPr id="100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4" name="Group 93"/>
            <p:cNvGrpSpPr/>
            <p:nvPr/>
          </p:nvGrpSpPr>
          <p:grpSpPr>
            <a:xfrm>
              <a:off x="-600" y="0"/>
              <a:ext cx="12193200" cy="6858000"/>
              <a:chOff x="-600" y="0"/>
              <a:chExt cx="12193200" cy="6858000"/>
            </a:xfrm>
          </p:grpSpPr>
          <p:sp>
            <p:nvSpPr>
              <p:cNvPr id="95" name="Slide edges"/>
              <p:cNvSpPr>
                <a:spLocks/>
              </p:cNvSpPr>
              <p:nvPr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96" name="Footnote measure"/>
              <p:cNvSpPr>
                <a:spLocks noChangeArrowheads="1"/>
              </p:cNvSpPr>
              <p:nvPr/>
            </p:nvSpPr>
            <p:spPr bwMode="auto">
              <a:xfrm>
                <a:off x="629400" y="5678521"/>
                <a:ext cx="10933200" cy="905159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Whitespace measure"/>
              <p:cNvSpPr>
                <a:spLocks noChangeArrowheads="1"/>
              </p:cNvSpPr>
              <p:nvPr/>
            </p:nvSpPr>
            <p:spPr bwMode="auto">
              <a:xfrm>
                <a:off x="629400" y="1514985"/>
                <a:ext cx="10932229" cy="59479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Live area"/>
              <p:cNvSpPr/>
              <p:nvPr/>
            </p:nvSpPr>
            <p:spPr>
              <a:xfrm>
                <a:off x="629400" y="2109775"/>
                <a:ext cx="10933200" cy="3568747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D1B24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Footnote example"/>
              <p:cNvSpPr txBox="1"/>
              <p:nvPr/>
            </p:nvSpPr>
            <p:spPr>
              <a:xfrm>
                <a:off x="630000" y="5678521"/>
                <a:ext cx="9030914" cy="3323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1. xxxx  2. xxxx  3. List footnotes in numerical order. Footnote numbers are not bracketed. Use 8pt font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Note: Do not put a period at the end of the note or the source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Source: Include a source for every chart that you use. Separate sources with a semicolon; BCG-related sources go at the end</a:t>
                </a: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sym typeface="Trebuchet MS" panose="020B0603020202020204" pitchFamily="34" charset="0"/>
                </a:endParaRPr>
              </a:p>
            </p:txBody>
          </p:sp>
        </p:grp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DD80BFC9-733C-8AC6-C9DC-C6978C63503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37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256DD11-030E-4276-B7F9-8800AF6ADF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  <a:endParaRPr lang="en-IN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80C3700-E3C2-478C-8875-962D0768B7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72ACFA5-99E3-D763-1984-AD5ABE62805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523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332399"/>
          </a:xfr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1030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9489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D9F3F62-C0AA-1FC3-9A57-A04C8C535F8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511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248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0690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332399"/>
          </a:xfr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8519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2073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38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177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987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764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90627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3545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26683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Four column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8963372" cy="292100"/>
          </a:xfrm>
          <a:custGeom>
            <a:avLst/>
            <a:gdLst>
              <a:gd name="connsiteX0" fmla="*/ 0 w 8963372"/>
              <a:gd name="connsiteY0" fmla="*/ 0 h 292100"/>
              <a:gd name="connsiteX1" fmla="*/ 8963372 w 8963372"/>
              <a:gd name="connsiteY1" fmla="*/ 0 h 292100"/>
              <a:gd name="connsiteX2" fmla="*/ 8963372 w 8963372"/>
              <a:gd name="connsiteY2" fmla="*/ 292100 h 292100"/>
              <a:gd name="connsiteX3" fmla="*/ 0 w 8963372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63372" h="292100">
                <a:moveTo>
                  <a:pt x="0" y="0"/>
                </a:moveTo>
                <a:lnTo>
                  <a:pt x="8963372" y="0"/>
                </a:lnTo>
                <a:lnTo>
                  <a:pt x="896337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7453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7750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half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3221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two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0537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6007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87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6711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804776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088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0977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768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4764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009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77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17564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1157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3735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90627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9241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8963372" cy="292100"/>
          </a:xfrm>
          <a:custGeom>
            <a:avLst/>
            <a:gdLst>
              <a:gd name="connsiteX0" fmla="*/ 0 w 8963372"/>
              <a:gd name="connsiteY0" fmla="*/ 0 h 292100"/>
              <a:gd name="connsiteX1" fmla="*/ 8963372 w 8963372"/>
              <a:gd name="connsiteY1" fmla="*/ 0 h 292100"/>
              <a:gd name="connsiteX2" fmla="*/ 8963372 w 8963372"/>
              <a:gd name="connsiteY2" fmla="*/ 292100 h 292100"/>
              <a:gd name="connsiteX3" fmla="*/ 0 w 8963372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63372" h="292100">
                <a:moveTo>
                  <a:pt x="0" y="0"/>
                </a:moveTo>
                <a:lnTo>
                  <a:pt x="8963372" y="0"/>
                </a:lnTo>
                <a:lnTo>
                  <a:pt x="896337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0531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87569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9589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4835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462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2B105E2-EEF0-5C8D-7A4D-720546A7E9D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9094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693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1901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560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9042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657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5722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304C088-E5EB-C4A3-24A7-3D13A5BD239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501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2FE76C8-5F01-9D2C-61B0-C9A0AFC4029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86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39F02C2-029F-C4D7-1E33-63057B97C5B1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7405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3440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11" b="-40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1CB14D6-3D48-47EE-0366-1C8401CA6F2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117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89EEBE2-62D5-EAEF-00AF-E6F66660830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936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6C1DD9F-8B95-EF2F-8DBB-3FA0E8C1ED5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79847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. 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95A91F7-0507-E38E-9676-1BE1FAE12CC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4439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DE8554-56E2-E0B3-30C2-084750FD492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080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3B1810B-FC30-F127-3495-6BED909646DA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555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FA11A4D-78E4-8FB5-A8FB-C95D2EF915B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777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7F1AD90-0D0B-3669-CC80-8C0E818AFF7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7093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735A47E-7E56-4E95-41E3-B6A786C67A8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45242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EF587F7-0D99-3E90-A037-7C376F021005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807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804776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203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B19D0F5-C889-B78E-3CAE-7CEF380CE96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739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Rectangle 1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EF2427">
                  <a:shade val="30000"/>
                  <a:satMod val="115000"/>
                  <a:alpha val="76000"/>
                </a:srgbClr>
              </a:gs>
              <a:gs pos="100000">
                <a:srgbClr val="ED1B24">
                  <a:alpha val="61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2328" y="2992637"/>
            <a:ext cx="3062417" cy="79672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EBDB73F-CDDF-FB9B-C304-7CE8A608595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406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9" name="Freeform 48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5678521 h 6858000"/>
                <a:gd name="connsiteX2" fmla="*/ 629400 w 12193200"/>
                <a:gd name="connsiteY2" fmla="*/ 5678521 h 6858000"/>
                <a:gd name="connsiteX3" fmla="*/ 629400 w 12193200"/>
                <a:gd name="connsiteY3" fmla="*/ 6583680 h 6858000"/>
                <a:gd name="connsiteX4" fmla="*/ 11562600 w 12193200"/>
                <a:gd name="connsiteY4" fmla="*/ 6583680 h 6858000"/>
                <a:gd name="connsiteX5" fmla="*/ 11562600 w 12193200"/>
                <a:gd name="connsiteY5" fmla="*/ 5678521 h 6858000"/>
                <a:gd name="connsiteX6" fmla="*/ 11562000 w 12193200"/>
                <a:gd name="connsiteY6" fmla="*/ 567852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5678521"/>
                  </a:lnTo>
                  <a:lnTo>
                    <a:pt x="629400" y="5678521"/>
                  </a:lnTo>
                  <a:lnTo>
                    <a:pt x="629400" y="6583680"/>
                  </a:lnTo>
                  <a:lnTo>
                    <a:pt x="11562600" y="6583680"/>
                  </a:lnTo>
                  <a:lnTo>
                    <a:pt x="11562600" y="5678521"/>
                  </a:lnTo>
                  <a:lnTo>
                    <a:pt x="11562000" y="567852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  <a:alpha val="5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0" name="Group 49"/>
            <p:cNvGrpSpPr/>
            <p:nvPr/>
          </p:nvGrpSpPr>
          <p:grpSpPr>
            <a:xfrm>
              <a:off x="-600" y="622800"/>
              <a:ext cx="12193200" cy="5055720"/>
              <a:chOff x="-600" y="622800"/>
              <a:chExt cx="12193200" cy="5055720"/>
            </a:xfrm>
          </p:grpSpPr>
          <p:cxnSp>
            <p:nvCxnSpPr>
              <p:cNvPr id="74" name="Straight Connector 73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/>
            </p:nvCxnSpPr>
            <p:spPr>
              <a:xfrm>
                <a:off x="-600" y="92019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/>
            </p:nvCxnSpPr>
            <p:spPr>
              <a:xfrm>
                <a:off x="-600" y="121759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/>
            </p:nvCxnSpPr>
            <p:spPr>
              <a:xfrm>
                <a:off x="-600" y="151498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-600" y="181238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-600" y="210977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-600" y="240717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-600" y="27045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-600" y="300196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-600" y="32993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-600" y="359675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-600" y="389414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-600" y="419154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-600" y="448893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-600" y="478633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-600" y="508372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-600" y="53811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-600" y="56785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/>
          </p:nvGrpSpPr>
          <p:grpSpPr>
            <a:xfrm>
              <a:off x="629400" y="623550"/>
              <a:ext cx="10933200" cy="5054970"/>
              <a:chOff x="629400" y="623550"/>
              <a:chExt cx="10933200" cy="5537047"/>
            </a:xfrm>
          </p:grpSpPr>
          <p:sp>
            <p:nvSpPr>
              <p:cNvPr id="58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-600" y="0"/>
              <a:ext cx="12193200" cy="6858000"/>
              <a:chOff x="-600" y="0"/>
              <a:chExt cx="12193200" cy="6858000"/>
            </a:xfrm>
          </p:grpSpPr>
          <p:sp>
            <p:nvSpPr>
              <p:cNvPr id="53" name="Slide edges"/>
              <p:cNvSpPr>
                <a:spLocks/>
              </p:cNvSpPr>
              <p:nvPr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54" name="Footnote measure"/>
              <p:cNvSpPr>
                <a:spLocks noChangeArrowheads="1"/>
              </p:cNvSpPr>
              <p:nvPr/>
            </p:nvSpPr>
            <p:spPr bwMode="auto">
              <a:xfrm>
                <a:off x="629400" y="5678521"/>
                <a:ext cx="10933200" cy="905159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Whitespace measure"/>
              <p:cNvSpPr>
                <a:spLocks noChangeArrowheads="1"/>
              </p:cNvSpPr>
              <p:nvPr/>
            </p:nvSpPr>
            <p:spPr bwMode="auto">
              <a:xfrm>
                <a:off x="629400" y="1514985"/>
                <a:ext cx="10932229" cy="59479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Live area"/>
              <p:cNvSpPr/>
              <p:nvPr/>
            </p:nvSpPr>
            <p:spPr>
              <a:xfrm>
                <a:off x="629400" y="2109775"/>
                <a:ext cx="10933200" cy="3568747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D1B24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Footnote example"/>
              <p:cNvSpPr txBox="1"/>
              <p:nvPr/>
            </p:nvSpPr>
            <p:spPr>
              <a:xfrm>
                <a:off x="630000" y="5678521"/>
                <a:ext cx="9030914" cy="3323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1. xxxx  2. xxxx  3. List footnotes in numerical order. Footnote numbers are not bracketed. Use 8pt font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Note: Do not put a period at the end of the note or the source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Source: Include a source for every chart that you use. Separate sources with a semicolon; BCG-related sources go at the end</a:t>
                </a: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sym typeface="Trebuchet MS" panose="020B0603020202020204" pitchFamily="34" charset="0"/>
                </a:endParaRPr>
              </a:p>
            </p:txBody>
          </p:sp>
        </p:grp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C47D6532-6E04-D5F1-51B1-5FCF226B9A7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2654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Section Header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1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C896B0F-E34B-2924-1144-E8C7AE031F4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020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Section Header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7925EB2-FFDB-C784-EEE6-655F380D4B8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3172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Full Width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75E17A3-930F-B2F1-B0E8-7E9C43EB1246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6773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DA41B9E-9C41-8AA4-9B86-5A5172D07B3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4470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1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58D35F5-9430-F3AE-42E7-F16E436AD26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3692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7385946-D1F3-8DA3-1863-31DACF18C6A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755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C1EE702-C2FC-4A09-76D9-83F169A1D37E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307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3189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D.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1234189-BA76-1722-A4A9-6846A2D6AA36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1857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47113C5-E7A6-812A-E930-D79C5682A401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904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" y="-1309"/>
            <a:ext cx="3252485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8C8680F0-21E4-46C4-A4F9-6D480C873D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6539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A29A1BA-FD74-E3F2-0001-4537CC18366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780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1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9A8ACE7-2E04-BD70-3776-6CFC23D4107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125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B4A164A-717D-1E59-23E2-64D2AEC510A5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03234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73AC1B9-0172-110B-30E0-17EF7244E68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9322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D3BA188-FAB0-7771-2F12-641B0898D7A6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1886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1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1978BA6-DB2E-5CF8-EB1A-6FA7F944C52A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9855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5CC9245-852A-65AB-C4C1-8B837C9AC031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847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804529A-A116-4099-518F-CA7CC0C162B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734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557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EFB0E72-D6A2-04DC-2D06-37FD698B60D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6357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4B7DF88-3540-8276-57AA-A0B7FF636AA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1849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" y="-1309"/>
            <a:ext cx="3252485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8C8680F0-21E4-46C4-A4F9-6D480C873D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6539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214059E-2AD0-9AFC-155A-40408CF2CAAE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2869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286958-D78A-4899-49D2-0A0F00C62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26D3A4-88E6-1405-A825-5BD3411227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9469F6-ECB5-55B3-DE85-131F06127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33DAFA-91E5-5041-8A6F-F1954D78DFD6}" type="datetimeFigureOut">
              <a:rPr lang="en-US" smtClean="0"/>
              <a:t>6/7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778E1E-89E1-FD6B-61D9-E5363A4749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273657-82BE-4D2A-0305-36B5D0E48C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056B8F-DFAE-E646-BC01-2038911031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729904"/>
      </p:ext>
    </p:extLst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256DD11-030E-4276-B7F9-8800AF6ADF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  <a:endParaRPr lang="en-IN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780C3700-E3C2-478C-8875-962D0768B7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1B1002E-EEFA-6D65-5B8D-8C9F9195302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027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94C4898D-658B-E346-91A2-0A8C244F9561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5437799-7284-5764-CE96-3BD64B8551D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6488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C3CF30D7-97C9-8D9A-57FD-DD1657752191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8DD8279-F03A-BE65-B82D-174EB1F831D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0148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20EFCD7-AA50-8944-451A-5A1F8D134B5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1584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half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A304312C-3142-447F-6485-149DC9F6D64B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94A1E94-91A3-0168-395B-1B7128023FFA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78446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two third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9BE0EF35-B518-FC80-22AB-336796B9C13A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1B4BF3F-88D8-8738-249A-D46EFD90BDEE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325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7568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9D5EF2CF-515C-F359-0A9E-8D3CD2AA271C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9AF831A-2024-6753-1A3D-C251A8390DDD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5814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0A044B66-63C1-5B37-8DAD-333D74FA3C09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042A521-9C0D-0BF7-D4B8-26E4AE50EF14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219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81AD14B4-D1B5-D89D-8FE5-6BC94C526ABE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1C2B09A-3B45-E864-3D6E-96DB7A8E40EA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721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A53FBF35-BBBA-D896-11E4-4DB52E2785F1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7BEE6AF-A0E5-B54B-02A0-51AA27F175BA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239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DB990C3A-3883-1166-0666-B1F787E41240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758F00A-FFD2-947C-E212-74E9BA1AB58C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632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F38E1213-A213-40A1-66F7-BB56471B568E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F6985C1-F749-F34B-5BB9-9A3F7A251559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348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A087BCE0-8F63-0A19-1407-C6D70E2032B5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60BBAB-51F2-098F-EF5F-FD1F19A3AE9C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8710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92F65233-812B-1D0F-4D22-F8B1F5409DC5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D4FA695-58F0-24C7-F092-C47B9F78A77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7129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20D0C8F4-D00E-FCA5-0C93-BEC2BD69C1FC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1DC8CE-F356-05AE-F927-D0C0756C9E5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72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11" b="-40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sp>
        <p:nvSpPr>
          <p:cNvPr id="3" name="Textfeld 1">
            <a:extLst>
              <a:ext uri="{FF2B5EF4-FFF2-40B4-BE49-F238E27FC236}">
                <a16:creationId xmlns:a16="http://schemas.microsoft.com/office/drawing/2014/main" id="{FF5E3DBF-9439-A7C8-D19C-5FA48CE742BA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A057528-C255-A0D7-084D-44EEEB57053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869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ent Agenda Section Header">
    <p:bg>
      <p:bgPr>
        <a:solidFill>
          <a:srgbClr val="ED1C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A96FFF1-3411-9ED3-6C85-F125BCB3E079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9813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870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9532CA23-84F9-FC20-82D8-51948324707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C878FA-8211-8E6F-8AF2-52DF2796BFA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327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8429041-0CC6-F86B-A675-CFB930233A15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763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7A21246-FF34-026C-8D15-DD9BCDA8B1F6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5137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Rectangle 1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EF2427">
                  <a:shade val="30000"/>
                  <a:satMod val="115000"/>
                  <a:alpha val="76000"/>
                </a:srgbClr>
              </a:gs>
              <a:gs pos="100000">
                <a:srgbClr val="ED1B24">
                  <a:alpha val="61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2328" y="2992637"/>
            <a:ext cx="3062417" cy="79672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C24B85B-6AC0-9CA1-510E-F780B788097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596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332399"/>
          </a:xfr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F8183C-F8E1-C2AF-E629-1FB6BFEF632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60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34055F7-17E8-7D1B-38A4-3EABF3DE4991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3889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AD082A58-B479-BF0C-63A0-2729F4BEDC2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052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0BC6849-3086-4ABB-B775-9CF93FF61BD1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075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F0CB1F8-4796-B8CE-3A00-B19259A0829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907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974F079-2636-C565-8517-693552E6E79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19023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95462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90627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C3BB184-6E2C-C6A7-038A-32604D549A6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4163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Four column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8963372" cy="292100"/>
          </a:xfrm>
          <a:custGeom>
            <a:avLst/>
            <a:gdLst>
              <a:gd name="connsiteX0" fmla="*/ 0 w 8963372"/>
              <a:gd name="connsiteY0" fmla="*/ 0 h 292100"/>
              <a:gd name="connsiteX1" fmla="*/ 8963372 w 8963372"/>
              <a:gd name="connsiteY1" fmla="*/ 0 h 292100"/>
              <a:gd name="connsiteX2" fmla="*/ 8963372 w 8963372"/>
              <a:gd name="connsiteY2" fmla="*/ 292100 h 292100"/>
              <a:gd name="connsiteX3" fmla="*/ 0 w 8963372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63372" h="292100">
                <a:moveTo>
                  <a:pt x="0" y="0"/>
                </a:moveTo>
                <a:lnTo>
                  <a:pt x="8963372" y="0"/>
                </a:lnTo>
                <a:lnTo>
                  <a:pt x="896337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E8F1B0E-709B-07A5-BC0D-C22B0DCC47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752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8A2871B-05DF-23B5-EAC1-85571D38926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52761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half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ED3A4B3-FE68-70E8-D0AC-20D1DE4F017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209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two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E2AF3A5-BEC4-2501-D1CB-162760BD2F4E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1347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5E67882-647E-FDFC-B047-F72E32FDD75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263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9D3272B-5EA9-C92C-4468-5496B28420F1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2485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E22F53F-29C4-2F4B-094C-842D5245769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046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72424F9-8C9C-1F3A-3124-50969BFF72B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1662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B79D6E9-E185-6808-EC71-4E93B556225A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801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4424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23039B8-12C8-710A-8B98-97AA50799D4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4658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48D734-64F7-4EAD-848D-BBE864C7AC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2A90F9C-4497-482A-8EDA-05160D61FCD6}" type="datetime1">
              <a:rPr lang="en-IN" smtClean="0"/>
              <a:t>07/06/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C0E4C3-45EC-41CA-A181-267F66D588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IN"/>
              <a:t>Introducing new Banner layout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A1A946-C4A7-49E2-996F-99E68C7F5C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8348C29-9373-4720-A1D9-D44961B9F12C}" type="slidenum">
              <a:rPr lang="en-IN" smtClean="0"/>
              <a:t>‹#›</a:t>
            </a:fld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CEFFEE-453C-7FB4-4EE2-E031AC05DC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03682"/>
            <a:ext cx="10515600" cy="108700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E8B2B89-7C98-0C7F-0DA1-A1B84F3BB00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1819922"/>
            <a:ext cx="10515600" cy="43589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BA52A34-6EC1-7785-1A02-FD2B051760A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722605"/>
      </p:ext>
    </p:extLst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7323032-BDC6-7C8C-E2BC-389444698FE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244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A623B515-F8D1-D3AF-70B5-CBE99AD04F5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9078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5E840FA-3EC7-D912-7EF2-F9E5DBA8E63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0535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D7E7CA2-3F54-5A56-25C1-7DFE05867B9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5635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9EC08D2-06A5-994E-E860-9FC10E65342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4258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41D728A-5457-7CB7-2194-6EF3D8F74BF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00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01A1A7D-7FA0-DB80-1E71-BA4E208372E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9772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8200" y="397568"/>
            <a:ext cx="10515600" cy="108440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560443"/>
            <a:ext cx="10515600" cy="46165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EE9026B1-A4DB-B753-BFDD-FE3B4FE167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9C4B0B-7D7C-4F43-B20D-0900CC15BB9E}" type="datetime1">
              <a:rPr lang="en-IN"/>
              <a:pPr>
                <a:defRPr/>
              </a:pPr>
              <a:t>07/06/25</a:t>
            </a:fld>
            <a:endParaRPr lang="en-IN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7CA8DA80-971E-56FC-3ED5-2B20C0E126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IN"/>
              <a:t>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1B8D028-EE31-D285-7B14-72F101FCE7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2DAF67-6A3D-4501-AE4A-9CFEF3FBF616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0525709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2B105E2-EEF0-5C8D-7A4D-720546A7E9D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7825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Rectangle 10"/>
          <p:cNvSpPr/>
          <p:nvPr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EF2427">
                  <a:shade val="30000"/>
                  <a:satMod val="115000"/>
                  <a:alpha val="76000"/>
                </a:srgbClr>
              </a:gs>
              <a:gs pos="100000">
                <a:srgbClr val="ED1B24">
                  <a:alpha val="61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2328" y="2992637"/>
            <a:ext cx="3062417" cy="796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532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332399"/>
          </a:xfr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238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256DD11-030E-4276-B7F9-8800AF6ADF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  <a:endParaRPr lang="en-IN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780C3700-E3C2-478C-8875-962D0768B7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077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731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304C088-E5EB-C4A3-24A7-3D13A5BD239C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39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2FE76C8-5F01-9D2C-61B0-C9A0AFC4029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9292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39F02C2-029F-C4D7-1E33-63057B97C5B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086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11" b="-40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1CB14D6-3D48-47EE-0366-1C8401CA6F2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101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89EEBE2-62D5-EAEF-00AF-E6F66660830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53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8880E3D-E585-6271-B805-8E14AA53F9C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891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6C1DD9F-8B95-EF2F-8DBB-3FA0E8C1ED5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437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. 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95A91F7-0507-E38E-9676-1BE1FAE12CC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2512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DE8554-56E2-E0B3-30C2-084750FD492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1256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3B1810B-FC30-F127-3495-6BED909646DA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8626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Rectangle 1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EF2427">
                  <a:shade val="30000"/>
                  <a:satMod val="115000"/>
                  <a:alpha val="76000"/>
                </a:srgbClr>
              </a:gs>
              <a:gs pos="100000">
                <a:srgbClr val="ED1B24">
                  <a:alpha val="61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2328" y="2992637"/>
            <a:ext cx="3062417" cy="79672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EBDB73F-CDDF-FB9B-C304-7CE8A6085959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058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9" name="Freeform 48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5678521 h 6858000"/>
                <a:gd name="connsiteX2" fmla="*/ 629400 w 12193200"/>
                <a:gd name="connsiteY2" fmla="*/ 5678521 h 6858000"/>
                <a:gd name="connsiteX3" fmla="*/ 629400 w 12193200"/>
                <a:gd name="connsiteY3" fmla="*/ 6583680 h 6858000"/>
                <a:gd name="connsiteX4" fmla="*/ 11562600 w 12193200"/>
                <a:gd name="connsiteY4" fmla="*/ 6583680 h 6858000"/>
                <a:gd name="connsiteX5" fmla="*/ 11562600 w 12193200"/>
                <a:gd name="connsiteY5" fmla="*/ 5678521 h 6858000"/>
                <a:gd name="connsiteX6" fmla="*/ 11562000 w 12193200"/>
                <a:gd name="connsiteY6" fmla="*/ 567852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5678521"/>
                  </a:lnTo>
                  <a:lnTo>
                    <a:pt x="629400" y="5678521"/>
                  </a:lnTo>
                  <a:lnTo>
                    <a:pt x="629400" y="6583680"/>
                  </a:lnTo>
                  <a:lnTo>
                    <a:pt x="11562600" y="6583680"/>
                  </a:lnTo>
                  <a:lnTo>
                    <a:pt x="11562600" y="5678521"/>
                  </a:lnTo>
                  <a:lnTo>
                    <a:pt x="11562000" y="567852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  <a:alpha val="5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0" name="Group 49"/>
            <p:cNvGrpSpPr/>
            <p:nvPr/>
          </p:nvGrpSpPr>
          <p:grpSpPr>
            <a:xfrm>
              <a:off x="-600" y="622800"/>
              <a:ext cx="12193200" cy="5055720"/>
              <a:chOff x="-600" y="622800"/>
              <a:chExt cx="12193200" cy="5055720"/>
            </a:xfrm>
          </p:grpSpPr>
          <p:cxnSp>
            <p:nvCxnSpPr>
              <p:cNvPr id="74" name="Straight Connector 73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/>
            </p:nvCxnSpPr>
            <p:spPr>
              <a:xfrm>
                <a:off x="-600" y="92019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/>
            </p:nvCxnSpPr>
            <p:spPr>
              <a:xfrm>
                <a:off x="-600" y="121759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/>
            </p:nvCxnSpPr>
            <p:spPr>
              <a:xfrm>
                <a:off x="-600" y="151498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-600" y="181238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-600" y="210977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-600" y="240717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-600" y="27045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-600" y="300196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-600" y="32993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-600" y="359675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-600" y="389414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-600" y="419154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-600" y="448893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-600" y="478633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-600" y="508372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-600" y="53811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-600" y="56785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/>
          </p:nvGrpSpPr>
          <p:grpSpPr>
            <a:xfrm>
              <a:off x="629400" y="623550"/>
              <a:ext cx="10933200" cy="5054970"/>
              <a:chOff x="629400" y="623550"/>
              <a:chExt cx="10933200" cy="5537047"/>
            </a:xfrm>
          </p:grpSpPr>
          <p:sp>
            <p:nvSpPr>
              <p:cNvPr id="58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-600" y="0"/>
              <a:ext cx="12193200" cy="6858000"/>
              <a:chOff x="-600" y="0"/>
              <a:chExt cx="12193200" cy="6858000"/>
            </a:xfrm>
          </p:grpSpPr>
          <p:sp>
            <p:nvSpPr>
              <p:cNvPr id="53" name="Slide edges"/>
              <p:cNvSpPr>
                <a:spLocks/>
              </p:cNvSpPr>
              <p:nvPr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54" name="Footnote measure"/>
              <p:cNvSpPr>
                <a:spLocks noChangeArrowheads="1"/>
              </p:cNvSpPr>
              <p:nvPr/>
            </p:nvSpPr>
            <p:spPr bwMode="auto">
              <a:xfrm>
                <a:off x="629400" y="5678521"/>
                <a:ext cx="10933200" cy="905159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Whitespace measure"/>
              <p:cNvSpPr>
                <a:spLocks noChangeArrowheads="1"/>
              </p:cNvSpPr>
              <p:nvPr/>
            </p:nvSpPr>
            <p:spPr bwMode="auto">
              <a:xfrm>
                <a:off x="629400" y="1514985"/>
                <a:ext cx="10932229" cy="59479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Live area"/>
              <p:cNvSpPr/>
              <p:nvPr/>
            </p:nvSpPr>
            <p:spPr>
              <a:xfrm>
                <a:off x="629400" y="2109775"/>
                <a:ext cx="10933200" cy="3568747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D1B24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Footnote example"/>
              <p:cNvSpPr txBox="1"/>
              <p:nvPr/>
            </p:nvSpPr>
            <p:spPr>
              <a:xfrm>
                <a:off x="630000" y="5678521"/>
                <a:ext cx="9030914" cy="3323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1. xxxx  2. xxxx  3. List footnotes in numerical order. Footnote numbers are not bracketed. Use 8pt font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Note: Do not put a period at the end of the note or the source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Source: Include a source for every chart that you use. Separate sources with a semicolon; BCG-related sources go at the end</a:t>
                </a: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sym typeface="Trebuchet MS" panose="020B0603020202020204" pitchFamily="34" charset="0"/>
                </a:endParaRPr>
              </a:p>
            </p:txBody>
          </p:sp>
        </p:grp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C47D6532-6E04-D5F1-51B1-5FCF226B9A7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586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C896B0F-E34B-2924-1144-E8C7AE031F45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4945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7925EB2-FFDB-C784-EEE6-655F380D4B8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8746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75E17A3-930F-B2F1-B0E8-7E9C43EB1246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8909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DA41B9E-9C41-8AA4-9B86-5A5172D07B3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35713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</p:spPr>
        <p:txBody>
          <a:bodyPr vert="horz"/>
          <a:lstStyle>
            <a:lvl1pPr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DB02CB0-0C0F-CB91-8D66-A9A43B7C8EB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302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58D35F5-9430-F3AE-42E7-F16E436AD268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152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7385946-D1F3-8DA3-1863-31DACF18C6A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16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C1EE702-C2FC-4A09-76D9-83F169A1D37E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7178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1234189-BA76-1722-A4A9-6846A2D6AA36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0034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47113C5-E7A6-812A-E930-D79C5682A40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160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4DB36A4-3C22-4171-A7C0-131095FDCC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4DB36A4-3C22-4171-A7C0-131095FDCC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1" y="-1309"/>
            <a:ext cx="3252485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8C8680F0-21E4-46C4-A4F9-6D480C873D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6539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A29A1BA-FD74-E3F2-0001-4537CC18366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108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286958-D78A-4899-49D2-0A0F00C62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26D3A4-88E6-1405-A825-5BD3411227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9469F6-ECB5-55B3-DE85-131F06127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33DAFA-91E5-5041-8A6F-F1954D78DFD6}" type="datetimeFigureOut">
              <a:rPr lang="en-US" smtClean="0"/>
              <a:t>6/7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778E1E-89E1-FD6B-61D9-E5363A4749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273657-82BE-4D2A-0305-36B5D0E48C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056B8F-DFAE-E646-BC01-2038911031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340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lient Agenda Section Header">
    <p:bg>
      <p:bgPr>
        <a:solidFill>
          <a:srgbClr val="ED1C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184F831-12B7-CFFC-5ECC-2FD2DCAA4073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8780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</p:spPr>
        <p:txBody>
          <a:bodyPr vert="horz"/>
          <a:lstStyle>
            <a:lvl1pPr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907184E-AFAB-99F6-DDDE-8E3BE80A1BF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131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67AA60E-3654-D959-BA31-43DFBC4DB05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6148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63" Type="http://schemas.openxmlformats.org/officeDocument/2006/relationships/slideLayout" Target="../slideLayouts/slideLayout63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59" Type="http://schemas.openxmlformats.org/officeDocument/2006/relationships/slideLayout" Target="../slideLayouts/slideLayout159.xml"/><Relationship Id="rId170" Type="http://schemas.openxmlformats.org/officeDocument/2006/relationships/slideLayout" Target="../slideLayouts/slideLayout170.xml"/><Relationship Id="rId191" Type="http://schemas.openxmlformats.org/officeDocument/2006/relationships/slideLayout" Target="../slideLayouts/slideLayout191.xml"/><Relationship Id="rId205" Type="http://schemas.openxmlformats.org/officeDocument/2006/relationships/slideLayout" Target="../slideLayouts/slideLayout205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53" Type="http://schemas.openxmlformats.org/officeDocument/2006/relationships/slideLayout" Target="../slideLayouts/slideLayout53.xml"/><Relationship Id="rId74" Type="http://schemas.openxmlformats.org/officeDocument/2006/relationships/slideLayout" Target="../slideLayouts/slideLayout74.xml"/><Relationship Id="rId128" Type="http://schemas.openxmlformats.org/officeDocument/2006/relationships/slideLayout" Target="../slideLayouts/slideLayout128.xml"/><Relationship Id="rId149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5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181" Type="http://schemas.openxmlformats.org/officeDocument/2006/relationships/slideLayout" Target="../slideLayouts/slideLayout181.xml"/><Relationship Id="rId216" Type="http://schemas.openxmlformats.org/officeDocument/2006/relationships/slideLayout" Target="../slideLayouts/slideLayout216.xml"/><Relationship Id="rId22" Type="http://schemas.openxmlformats.org/officeDocument/2006/relationships/slideLayout" Target="../slideLayouts/slideLayout22.xml"/><Relationship Id="rId43" Type="http://schemas.openxmlformats.org/officeDocument/2006/relationships/slideLayout" Target="../slideLayouts/slideLayout43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Relationship Id="rId139" Type="http://schemas.openxmlformats.org/officeDocument/2006/relationships/slideLayout" Target="../slideLayouts/slideLayout139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71" Type="http://schemas.openxmlformats.org/officeDocument/2006/relationships/slideLayout" Target="../slideLayouts/slideLayout171.xml"/><Relationship Id="rId192" Type="http://schemas.openxmlformats.org/officeDocument/2006/relationships/slideLayout" Target="../slideLayouts/slideLayout192.xml"/><Relationship Id="rId206" Type="http://schemas.openxmlformats.org/officeDocument/2006/relationships/slideLayout" Target="../slideLayouts/slideLayout206.xml"/><Relationship Id="rId12" Type="http://schemas.openxmlformats.org/officeDocument/2006/relationships/slideLayout" Target="../slideLayouts/slideLayout12.xml"/><Relationship Id="rId33" Type="http://schemas.openxmlformats.org/officeDocument/2006/relationships/slideLayout" Target="../slideLayouts/slideLayout33.xml"/><Relationship Id="rId108" Type="http://schemas.openxmlformats.org/officeDocument/2006/relationships/slideLayout" Target="../slideLayouts/slideLayout108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5" Type="http://schemas.openxmlformats.org/officeDocument/2006/relationships/slideLayout" Target="../slideLayouts/slideLayout75.xml"/><Relationship Id="rId96" Type="http://schemas.openxmlformats.org/officeDocument/2006/relationships/slideLayout" Target="../slideLayouts/slideLayout96.xml"/><Relationship Id="rId140" Type="http://schemas.openxmlformats.org/officeDocument/2006/relationships/slideLayout" Target="../slideLayouts/slideLayout140.xml"/><Relationship Id="rId161" Type="http://schemas.openxmlformats.org/officeDocument/2006/relationships/slideLayout" Target="../slideLayouts/slideLayout161.xml"/><Relationship Id="rId182" Type="http://schemas.openxmlformats.org/officeDocument/2006/relationships/slideLayout" Target="../slideLayouts/slideLayout182.xml"/><Relationship Id="rId217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119" Type="http://schemas.openxmlformats.org/officeDocument/2006/relationships/slideLayout" Target="../slideLayouts/slideLayout119.xml"/><Relationship Id="rId44" Type="http://schemas.openxmlformats.org/officeDocument/2006/relationships/slideLayout" Target="../slideLayouts/slideLayout44.xml"/><Relationship Id="rId65" Type="http://schemas.openxmlformats.org/officeDocument/2006/relationships/slideLayout" Target="../slideLayouts/slideLayout65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51" Type="http://schemas.openxmlformats.org/officeDocument/2006/relationships/slideLayout" Target="../slideLayouts/slideLayout151.xml"/><Relationship Id="rId172" Type="http://schemas.openxmlformats.org/officeDocument/2006/relationships/slideLayout" Target="../slideLayouts/slideLayout172.xml"/><Relationship Id="rId193" Type="http://schemas.openxmlformats.org/officeDocument/2006/relationships/slideLayout" Target="../slideLayouts/slideLayout193.xml"/><Relationship Id="rId207" Type="http://schemas.openxmlformats.org/officeDocument/2006/relationships/slideLayout" Target="../slideLayouts/slideLayout207.xml"/><Relationship Id="rId13" Type="http://schemas.openxmlformats.org/officeDocument/2006/relationships/slideLayout" Target="../slideLayouts/slideLayout13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20" Type="http://schemas.openxmlformats.org/officeDocument/2006/relationships/slideLayout" Target="../slideLayouts/slideLayout120.xml"/><Relationship Id="rId141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7.xml"/><Relationship Id="rId162" Type="http://schemas.openxmlformats.org/officeDocument/2006/relationships/slideLayout" Target="../slideLayouts/slideLayout162.xml"/><Relationship Id="rId183" Type="http://schemas.openxmlformats.org/officeDocument/2006/relationships/slideLayout" Target="../slideLayouts/slideLayout183.xml"/><Relationship Id="rId218" Type="http://schemas.openxmlformats.org/officeDocument/2006/relationships/slideLayout" Target="../slideLayouts/slideLayout218.xml"/><Relationship Id="rId24" Type="http://schemas.openxmlformats.org/officeDocument/2006/relationships/slideLayout" Target="../slideLayouts/slideLayout24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31" Type="http://schemas.openxmlformats.org/officeDocument/2006/relationships/slideLayout" Target="../slideLayouts/slideLayout131.xml"/><Relationship Id="rId152" Type="http://schemas.openxmlformats.org/officeDocument/2006/relationships/slideLayout" Target="../slideLayouts/slideLayout152.xml"/><Relationship Id="rId173" Type="http://schemas.openxmlformats.org/officeDocument/2006/relationships/slideLayout" Target="../slideLayouts/slideLayout173.xml"/><Relationship Id="rId194" Type="http://schemas.openxmlformats.org/officeDocument/2006/relationships/slideLayout" Target="../slideLayouts/slideLayout194.xml"/><Relationship Id="rId208" Type="http://schemas.openxmlformats.org/officeDocument/2006/relationships/slideLayout" Target="../slideLayouts/slideLayout208.xml"/><Relationship Id="rId14" Type="http://schemas.openxmlformats.org/officeDocument/2006/relationships/slideLayout" Target="../slideLayouts/slideLayout14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slideLayout" Target="../slideLayouts/slideLayout142.xml"/><Relationship Id="rId163" Type="http://schemas.openxmlformats.org/officeDocument/2006/relationships/slideLayout" Target="../slideLayouts/slideLayout163.xml"/><Relationship Id="rId184" Type="http://schemas.openxmlformats.org/officeDocument/2006/relationships/slideLayout" Target="../slideLayouts/slideLayout184.xml"/><Relationship Id="rId189" Type="http://schemas.openxmlformats.org/officeDocument/2006/relationships/slideLayout" Target="../slideLayouts/slideLayout189.xml"/><Relationship Id="rId219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4" Type="http://schemas.openxmlformats.org/officeDocument/2006/relationships/slideLayout" Target="../slideLayouts/slideLayout214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158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3" Type="http://schemas.openxmlformats.org/officeDocument/2006/relationships/slideLayout" Target="../slideLayouts/slideLayout153.xml"/><Relationship Id="rId174" Type="http://schemas.openxmlformats.org/officeDocument/2006/relationships/slideLayout" Target="../slideLayouts/slideLayout174.xml"/><Relationship Id="rId179" Type="http://schemas.openxmlformats.org/officeDocument/2006/relationships/slideLayout" Target="../slideLayouts/slideLayout179.xml"/><Relationship Id="rId195" Type="http://schemas.openxmlformats.org/officeDocument/2006/relationships/slideLayout" Target="../slideLayouts/slideLayout195.xml"/><Relationship Id="rId209" Type="http://schemas.openxmlformats.org/officeDocument/2006/relationships/slideLayout" Target="../slideLayouts/slideLayout209.xml"/><Relationship Id="rId190" Type="http://schemas.openxmlformats.org/officeDocument/2006/relationships/slideLayout" Target="../slideLayouts/slideLayout190.xml"/><Relationship Id="rId204" Type="http://schemas.openxmlformats.org/officeDocument/2006/relationships/slideLayout" Target="../slideLayouts/slideLayout204.xml"/><Relationship Id="rId220" Type="http://schemas.openxmlformats.org/officeDocument/2006/relationships/tags" Target="../tags/tag1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143" Type="http://schemas.openxmlformats.org/officeDocument/2006/relationships/slideLayout" Target="../slideLayouts/slideLayout143.xml"/><Relationship Id="rId148" Type="http://schemas.openxmlformats.org/officeDocument/2006/relationships/slideLayout" Target="../slideLayouts/slideLayout148.xml"/><Relationship Id="rId164" Type="http://schemas.openxmlformats.org/officeDocument/2006/relationships/slideLayout" Target="../slideLayouts/slideLayout164.xml"/><Relationship Id="rId169" Type="http://schemas.openxmlformats.org/officeDocument/2006/relationships/slideLayout" Target="../slideLayouts/slideLayout169.xml"/><Relationship Id="rId185" Type="http://schemas.openxmlformats.org/officeDocument/2006/relationships/slideLayout" Target="../slideLayouts/slideLayout18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80" Type="http://schemas.openxmlformats.org/officeDocument/2006/relationships/slideLayout" Target="../slideLayouts/slideLayout180.xml"/><Relationship Id="rId210" Type="http://schemas.openxmlformats.org/officeDocument/2006/relationships/slideLayout" Target="../slideLayouts/slideLayout210.xml"/><Relationship Id="rId215" Type="http://schemas.openxmlformats.org/officeDocument/2006/relationships/slideLayout" Target="../slideLayouts/slideLayout215.xml"/><Relationship Id="rId26" Type="http://schemas.openxmlformats.org/officeDocument/2006/relationships/slideLayout" Target="../slideLayouts/slideLayout26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54" Type="http://schemas.openxmlformats.org/officeDocument/2006/relationships/slideLayout" Target="../slideLayouts/slideLayout154.xml"/><Relationship Id="rId175" Type="http://schemas.openxmlformats.org/officeDocument/2006/relationships/slideLayout" Target="../slideLayouts/slideLayout175.xml"/><Relationship Id="rId196" Type="http://schemas.openxmlformats.org/officeDocument/2006/relationships/slideLayout" Target="../slideLayouts/slideLayout196.xml"/><Relationship Id="rId200" Type="http://schemas.openxmlformats.org/officeDocument/2006/relationships/slideLayout" Target="../slideLayouts/slideLayout200.xml"/><Relationship Id="rId16" Type="http://schemas.openxmlformats.org/officeDocument/2006/relationships/slideLayout" Target="../slideLayouts/slideLayout16.xml"/><Relationship Id="rId221" Type="http://schemas.openxmlformats.org/officeDocument/2006/relationships/oleObject" Target="../embeddings/oleObject1.bin"/><Relationship Id="rId37" Type="http://schemas.openxmlformats.org/officeDocument/2006/relationships/slideLayout" Target="../slideLayouts/slideLayout37.xml"/><Relationship Id="rId58" Type="http://schemas.openxmlformats.org/officeDocument/2006/relationships/slideLayout" Target="../slideLayouts/slideLayout58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44" Type="http://schemas.openxmlformats.org/officeDocument/2006/relationships/slideLayout" Target="../slideLayouts/slideLayout144.xml"/><Relationship Id="rId90" Type="http://schemas.openxmlformats.org/officeDocument/2006/relationships/slideLayout" Target="../slideLayouts/slideLayout90.xml"/><Relationship Id="rId165" Type="http://schemas.openxmlformats.org/officeDocument/2006/relationships/slideLayout" Target="../slideLayouts/slideLayout165.xml"/><Relationship Id="rId186" Type="http://schemas.openxmlformats.org/officeDocument/2006/relationships/slideLayout" Target="../slideLayouts/slideLayout186.xml"/><Relationship Id="rId211" Type="http://schemas.openxmlformats.org/officeDocument/2006/relationships/slideLayout" Target="../slideLayouts/slideLayout211.xml"/><Relationship Id="rId27" Type="http://schemas.openxmlformats.org/officeDocument/2006/relationships/slideLayout" Target="../slideLayouts/slideLayout27.xml"/><Relationship Id="rId48" Type="http://schemas.openxmlformats.org/officeDocument/2006/relationships/slideLayout" Target="../slideLayouts/slideLayout48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34" Type="http://schemas.openxmlformats.org/officeDocument/2006/relationships/slideLayout" Target="../slideLayouts/slideLayout134.xml"/><Relationship Id="rId80" Type="http://schemas.openxmlformats.org/officeDocument/2006/relationships/slideLayout" Target="../slideLayouts/slideLayout80.xml"/><Relationship Id="rId155" Type="http://schemas.openxmlformats.org/officeDocument/2006/relationships/slideLayout" Target="../slideLayouts/slideLayout155.xml"/><Relationship Id="rId176" Type="http://schemas.openxmlformats.org/officeDocument/2006/relationships/slideLayout" Target="../slideLayouts/slideLayout176.xml"/><Relationship Id="rId197" Type="http://schemas.openxmlformats.org/officeDocument/2006/relationships/slideLayout" Target="../slideLayouts/slideLayout197.xml"/><Relationship Id="rId201" Type="http://schemas.openxmlformats.org/officeDocument/2006/relationships/slideLayout" Target="../slideLayouts/slideLayout201.xml"/><Relationship Id="rId222" Type="http://schemas.openxmlformats.org/officeDocument/2006/relationships/image" Target="../media/image1.emf"/><Relationship Id="rId17" Type="http://schemas.openxmlformats.org/officeDocument/2006/relationships/slideLayout" Target="../slideLayouts/slideLayout17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24" Type="http://schemas.openxmlformats.org/officeDocument/2006/relationships/slideLayout" Target="../slideLayouts/slideLayout124.xml"/><Relationship Id="rId70" Type="http://schemas.openxmlformats.org/officeDocument/2006/relationships/slideLayout" Target="../slideLayouts/slideLayout70.xml"/><Relationship Id="rId91" Type="http://schemas.openxmlformats.org/officeDocument/2006/relationships/slideLayout" Target="../slideLayouts/slideLayout91.xml"/><Relationship Id="rId145" Type="http://schemas.openxmlformats.org/officeDocument/2006/relationships/slideLayout" Target="../slideLayouts/slideLayout145.xml"/><Relationship Id="rId166" Type="http://schemas.openxmlformats.org/officeDocument/2006/relationships/slideLayout" Target="../slideLayouts/slideLayout166.xml"/><Relationship Id="rId187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.xml"/><Relationship Id="rId212" Type="http://schemas.openxmlformats.org/officeDocument/2006/relationships/slideLayout" Target="../slideLayouts/slideLayout212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60" Type="http://schemas.openxmlformats.org/officeDocument/2006/relationships/slideLayout" Target="../slideLayouts/slideLayout60.xml"/><Relationship Id="rId81" Type="http://schemas.openxmlformats.org/officeDocument/2006/relationships/slideLayout" Target="../slideLayouts/slideLayout81.xml"/><Relationship Id="rId135" Type="http://schemas.openxmlformats.org/officeDocument/2006/relationships/slideLayout" Target="../slideLayouts/slideLayout135.xml"/><Relationship Id="rId156" Type="http://schemas.openxmlformats.org/officeDocument/2006/relationships/slideLayout" Target="../slideLayouts/slideLayout156.xml"/><Relationship Id="rId177" Type="http://schemas.openxmlformats.org/officeDocument/2006/relationships/slideLayout" Target="../slideLayouts/slideLayout177.xml"/><Relationship Id="rId198" Type="http://schemas.openxmlformats.org/officeDocument/2006/relationships/slideLayout" Target="../slideLayouts/slideLayout198.xml"/><Relationship Id="rId202" Type="http://schemas.openxmlformats.org/officeDocument/2006/relationships/slideLayout" Target="../slideLayouts/slideLayout202.xml"/><Relationship Id="rId223" Type="http://schemas.openxmlformats.org/officeDocument/2006/relationships/image" Target="../media/image2.png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50" Type="http://schemas.openxmlformats.org/officeDocument/2006/relationships/slideLayout" Target="../slideLayouts/slideLayout50.xml"/><Relationship Id="rId104" Type="http://schemas.openxmlformats.org/officeDocument/2006/relationships/slideLayout" Target="../slideLayouts/slideLayout104.xml"/><Relationship Id="rId125" Type="http://schemas.openxmlformats.org/officeDocument/2006/relationships/slideLayout" Target="../slideLayouts/slideLayout125.xml"/><Relationship Id="rId146" Type="http://schemas.openxmlformats.org/officeDocument/2006/relationships/slideLayout" Target="../slideLayouts/slideLayout146.xml"/><Relationship Id="rId167" Type="http://schemas.openxmlformats.org/officeDocument/2006/relationships/slideLayout" Target="../slideLayouts/slideLayout167.xml"/><Relationship Id="rId188" Type="http://schemas.openxmlformats.org/officeDocument/2006/relationships/slideLayout" Target="../slideLayouts/slideLayout188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13" Type="http://schemas.openxmlformats.org/officeDocument/2006/relationships/slideLayout" Target="../slideLayouts/slideLayout213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40" Type="http://schemas.openxmlformats.org/officeDocument/2006/relationships/slideLayout" Target="../slideLayouts/slideLayout40.xml"/><Relationship Id="rId115" Type="http://schemas.openxmlformats.org/officeDocument/2006/relationships/slideLayout" Target="../slideLayouts/slideLayout115.xml"/><Relationship Id="rId136" Type="http://schemas.openxmlformats.org/officeDocument/2006/relationships/slideLayout" Target="../slideLayouts/slideLayout136.xml"/><Relationship Id="rId157" Type="http://schemas.openxmlformats.org/officeDocument/2006/relationships/slideLayout" Target="../slideLayouts/slideLayout157.xml"/><Relationship Id="rId178" Type="http://schemas.openxmlformats.org/officeDocument/2006/relationships/slideLayout" Target="../slideLayouts/slideLayout178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9" Type="http://schemas.openxmlformats.org/officeDocument/2006/relationships/slideLayout" Target="../slideLayouts/slideLayout199.xml"/><Relationship Id="rId203" Type="http://schemas.openxmlformats.org/officeDocument/2006/relationships/slideLayout" Target="../slideLayouts/slideLayout203.xml"/><Relationship Id="rId19" Type="http://schemas.openxmlformats.org/officeDocument/2006/relationships/slideLayout" Target="../slideLayouts/slideLayout19.xml"/><Relationship Id="rId30" Type="http://schemas.openxmlformats.org/officeDocument/2006/relationships/slideLayout" Target="../slideLayouts/slideLayout3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168" Type="http://schemas.openxmlformats.org/officeDocument/2006/relationships/slideLayout" Target="../slideLayouts/slideLayout168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335.xml"/><Relationship Id="rId21" Type="http://schemas.openxmlformats.org/officeDocument/2006/relationships/slideLayout" Target="../slideLayouts/slideLayout239.xml"/><Relationship Id="rId42" Type="http://schemas.openxmlformats.org/officeDocument/2006/relationships/slideLayout" Target="../slideLayouts/slideLayout260.xml"/><Relationship Id="rId63" Type="http://schemas.openxmlformats.org/officeDocument/2006/relationships/slideLayout" Target="../slideLayouts/slideLayout281.xml"/><Relationship Id="rId84" Type="http://schemas.openxmlformats.org/officeDocument/2006/relationships/slideLayout" Target="../slideLayouts/slideLayout302.xml"/><Relationship Id="rId138" Type="http://schemas.openxmlformats.org/officeDocument/2006/relationships/slideLayout" Target="../slideLayouts/slideLayout356.xml"/><Relationship Id="rId159" Type="http://schemas.openxmlformats.org/officeDocument/2006/relationships/slideLayout" Target="../slideLayouts/slideLayout377.xml"/><Relationship Id="rId170" Type="http://schemas.openxmlformats.org/officeDocument/2006/relationships/slideLayout" Target="../slideLayouts/slideLayout388.xml"/><Relationship Id="rId191" Type="http://schemas.openxmlformats.org/officeDocument/2006/relationships/slideLayout" Target="../slideLayouts/slideLayout409.xml"/><Relationship Id="rId205" Type="http://schemas.openxmlformats.org/officeDocument/2006/relationships/slideLayout" Target="../slideLayouts/slideLayout423.xml"/><Relationship Id="rId107" Type="http://schemas.openxmlformats.org/officeDocument/2006/relationships/slideLayout" Target="../slideLayouts/slideLayout325.xml"/><Relationship Id="rId11" Type="http://schemas.openxmlformats.org/officeDocument/2006/relationships/slideLayout" Target="../slideLayouts/slideLayout229.xml"/><Relationship Id="rId32" Type="http://schemas.openxmlformats.org/officeDocument/2006/relationships/slideLayout" Target="../slideLayouts/slideLayout250.xml"/><Relationship Id="rId53" Type="http://schemas.openxmlformats.org/officeDocument/2006/relationships/slideLayout" Target="../slideLayouts/slideLayout271.xml"/><Relationship Id="rId74" Type="http://schemas.openxmlformats.org/officeDocument/2006/relationships/slideLayout" Target="../slideLayouts/slideLayout292.xml"/><Relationship Id="rId128" Type="http://schemas.openxmlformats.org/officeDocument/2006/relationships/slideLayout" Target="../slideLayouts/slideLayout346.xml"/><Relationship Id="rId149" Type="http://schemas.openxmlformats.org/officeDocument/2006/relationships/slideLayout" Target="../slideLayouts/slideLayout367.xml"/><Relationship Id="rId5" Type="http://schemas.openxmlformats.org/officeDocument/2006/relationships/slideLayout" Target="../slideLayouts/slideLayout223.xml"/><Relationship Id="rId95" Type="http://schemas.openxmlformats.org/officeDocument/2006/relationships/slideLayout" Target="../slideLayouts/slideLayout313.xml"/><Relationship Id="rId160" Type="http://schemas.openxmlformats.org/officeDocument/2006/relationships/slideLayout" Target="../slideLayouts/slideLayout378.xml"/><Relationship Id="rId181" Type="http://schemas.openxmlformats.org/officeDocument/2006/relationships/slideLayout" Target="../slideLayouts/slideLayout399.xml"/><Relationship Id="rId22" Type="http://schemas.openxmlformats.org/officeDocument/2006/relationships/slideLayout" Target="../slideLayouts/slideLayout240.xml"/><Relationship Id="rId43" Type="http://schemas.openxmlformats.org/officeDocument/2006/relationships/slideLayout" Target="../slideLayouts/slideLayout261.xml"/><Relationship Id="rId64" Type="http://schemas.openxmlformats.org/officeDocument/2006/relationships/slideLayout" Target="../slideLayouts/slideLayout282.xml"/><Relationship Id="rId118" Type="http://schemas.openxmlformats.org/officeDocument/2006/relationships/slideLayout" Target="../slideLayouts/slideLayout336.xml"/><Relationship Id="rId139" Type="http://schemas.openxmlformats.org/officeDocument/2006/relationships/slideLayout" Target="../slideLayouts/slideLayout357.xml"/><Relationship Id="rId85" Type="http://schemas.openxmlformats.org/officeDocument/2006/relationships/slideLayout" Target="../slideLayouts/slideLayout303.xml"/><Relationship Id="rId150" Type="http://schemas.openxmlformats.org/officeDocument/2006/relationships/slideLayout" Target="../slideLayouts/slideLayout368.xml"/><Relationship Id="rId171" Type="http://schemas.openxmlformats.org/officeDocument/2006/relationships/slideLayout" Target="../slideLayouts/slideLayout389.xml"/><Relationship Id="rId192" Type="http://schemas.openxmlformats.org/officeDocument/2006/relationships/slideLayout" Target="../slideLayouts/slideLayout410.xml"/><Relationship Id="rId206" Type="http://schemas.openxmlformats.org/officeDocument/2006/relationships/slideLayout" Target="../slideLayouts/slideLayout424.xml"/><Relationship Id="rId12" Type="http://schemas.openxmlformats.org/officeDocument/2006/relationships/slideLayout" Target="../slideLayouts/slideLayout230.xml"/><Relationship Id="rId33" Type="http://schemas.openxmlformats.org/officeDocument/2006/relationships/slideLayout" Target="../slideLayouts/slideLayout251.xml"/><Relationship Id="rId108" Type="http://schemas.openxmlformats.org/officeDocument/2006/relationships/slideLayout" Target="../slideLayouts/slideLayout326.xml"/><Relationship Id="rId129" Type="http://schemas.openxmlformats.org/officeDocument/2006/relationships/slideLayout" Target="../slideLayouts/slideLayout347.xml"/><Relationship Id="rId54" Type="http://schemas.openxmlformats.org/officeDocument/2006/relationships/slideLayout" Target="../slideLayouts/slideLayout272.xml"/><Relationship Id="rId75" Type="http://schemas.openxmlformats.org/officeDocument/2006/relationships/slideLayout" Target="../slideLayouts/slideLayout293.xml"/><Relationship Id="rId96" Type="http://schemas.openxmlformats.org/officeDocument/2006/relationships/slideLayout" Target="../slideLayouts/slideLayout314.xml"/><Relationship Id="rId140" Type="http://schemas.openxmlformats.org/officeDocument/2006/relationships/slideLayout" Target="../slideLayouts/slideLayout358.xml"/><Relationship Id="rId161" Type="http://schemas.openxmlformats.org/officeDocument/2006/relationships/slideLayout" Target="../slideLayouts/slideLayout379.xml"/><Relationship Id="rId182" Type="http://schemas.openxmlformats.org/officeDocument/2006/relationships/slideLayout" Target="../slideLayouts/slideLayout400.xml"/><Relationship Id="rId6" Type="http://schemas.openxmlformats.org/officeDocument/2006/relationships/slideLayout" Target="../slideLayouts/slideLayout224.xml"/><Relationship Id="rId23" Type="http://schemas.openxmlformats.org/officeDocument/2006/relationships/slideLayout" Target="../slideLayouts/slideLayout241.xml"/><Relationship Id="rId119" Type="http://schemas.openxmlformats.org/officeDocument/2006/relationships/slideLayout" Target="../slideLayouts/slideLayout337.xml"/><Relationship Id="rId44" Type="http://schemas.openxmlformats.org/officeDocument/2006/relationships/slideLayout" Target="../slideLayouts/slideLayout262.xml"/><Relationship Id="rId65" Type="http://schemas.openxmlformats.org/officeDocument/2006/relationships/slideLayout" Target="../slideLayouts/slideLayout283.xml"/><Relationship Id="rId86" Type="http://schemas.openxmlformats.org/officeDocument/2006/relationships/slideLayout" Target="../slideLayouts/slideLayout304.xml"/><Relationship Id="rId130" Type="http://schemas.openxmlformats.org/officeDocument/2006/relationships/slideLayout" Target="../slideLayouts/slideLayout348.xml"/><Relationship Id="rId151" Type="http://schemas.openxmlformats.org/officeDocument/2006/relationships/slideLayout" Target="../slideLayouts/slideLayout369.xml"/><Relationship Id="rId172" Type="http://schemas.openxmlformats.org/officeDocument/2006/relationships/slideLayout" Target="../slideLayouts/slideLayout390.xml"/><Relationship Id="rId193" Type="http://schemas.openxmlformats.org/officeDocument/2006/relationships/slideLayout" Target="../slideLayouts/slideLayout411.xml"/><Relationship Id="rId207" Type="http://schemas.openxmlformats.org/officeDocument/2006/relationships/theme" Target="../theme/theme2.xml"/><Relationship Id="rId13" Type="http://schemas.openxmlformats.org/officeDocument/2006/relationships/slideLayout" Target="../slideLayouts/slideLayout231.xml"/><Relationship Id="rId109" Type="http://schemas.openxmlformats.org/officeDocument/2006/relationships/slideLayout" Target="../slideLayouts/slideLayout327.xml"/><Relationship Id="rId34" Type="http://schemas.openxmlformats.org/officeDocument/2006/relationships/slideLayout" Target="../slideLayouts/slideLayout252.xml"/><Relationship Id="rId55" Type="http://schemas.openxmlformats.org/officeDocument/2006/relationships/slideLayout" Target="../slideLayouts/slideLayout273.xml"/><Relationship Id="rId76" Type="http://schemas.openxmlformats.org/officeDocument/2006/relationships/slideLayout" Target="../slideLayouts/slideLayout294.xml"/><Relationship Id="rId97" Type="http://schemas.openxmlformats.org/officeDocument/2006/relationships/slideLayout" Target="../slideLayouts/slideLayout315.xml"/><Relationship Id="rId120" Type="http://schemas.openxmlformats.org/officeDocument/2006/relationships/slideLayout" Target="../slideLayouts/slideLayout338.xml"/><Relationship Id="rId141" Type="http://schemas.openxmlformats.org/officeDocument/2006/relationships/slideLayout" Target="../slideLayouts/slideLayout359.xml"/><Relationship Id="rId7" Type="http://schemas.openxmlformats.org/officeDocument/2006/relationships/slideLayout" Target="../slideLayouts/slideLayout225.xml"/><Relationship Id="rId162" Type="http://schemas.openxmlformats.org/officeDocument/2006/relationships/slideLayout" Target="../slideLayouts/slideLayout380.xml"/><Relationship Id="rId183" Type="http://schemas.openxmlformats.org/officeDocument/2006/relationships/slideLayout" Target="../slideLayouts/slideLayout401.xml"/><Relationship Id="rId24" Type="http://schemas.openxmlformats.org/officeDocument/2006/relationships/slideLayout" Target="../slideLayouts/slideLayout242.xml"/><Relationship Id="rId45" Type="http://schemas.openxmlformats.org/officeDocument/2006/relationships/slideLayout" Target="../slideLayouts/slideLayout263.xml"/><Relationship Id="rId66" Type="http://schemas.openxmlformats.org/officeDocument/2006/relationships/slideLayout" Target="../slideLayouts/slideLayout284.xml"/><Relationship Id="rId87" Type="http://schemas.openxmlformats.org/officeDocument/2006/relationships/slideLayout" Target="../slideLayouts/slideLayout305.xml"/><Relationship Id="rId110" Type="http://schemas.openxmlformats.org/officeDocument/2006/relationships/slideLayout" Target="../slideLayouts/slideLayout328.xml"/><Relationship Id="rId131" Type="http://schemas.openxmlformats.org/officeDocument/2006/relationships/slideLayout" Target="../slideLayouts/slideLayout349.xml"/><Relationship Id="rId61" Type="http://schemas.openxmlformats.org/officeDocument/2006/relationships/slideLayout" Target="../slideLayouts/slideLayout279.xml"/><Relationship Id="rId82" Type="http://schemas.openxmlformats.org/officeDocument/2006/relationships/slideLayout" Target="../slideLayouts/slideLayout300.xml"/><Relationship Id="rId152" Type="http://schemas.openxmlformats.org/officeDocument/2006/relationships/slideLayout" Target="../slideLayouts/slideLayout370.xml"/><Relationship Id="rId173" Type="http://schemas.openxmlformats.org/officeDocument/2006/relationships/slideLayout" Target="../slideLayouts/slideLayout391.xml"/><Relationship Id="rId194" Type="http://schemas.openxmlformats.org/officeDocument/2006/relationships/slideLayout" Target="../slideLayouts/slideLayout412.xml"/><Relationship Id="rId199" Type="http://schemas.openxmlformats.org/officeDocument/2006/relationships/slideLayout" Target="../slideLayouts/slideLayout417.xml"/><Relationship Id="rId203" Type="http://schemas.openxmlformats.org/officeDocument/2006/relationships/slideLayout" Target="../slideLayouts/slideLayout421.xml"/><Relationship Id="rId208" Type="http://schemas.openxmlformats.org/officeDocument/2006/relationships/tags" Target="../tags/tag308.xml"/><Relationship Id="rId19" Type="http://schemas.openxmlformats.org/officeDocument/2006/relationships/slideLayout" Target="../slideLayouts/slideLayout237.xml"/><Relationship Id="rId14" Type="http://schemas.openxmlformats.org/officeDocument/2006/relationships/slideLayout" Target="../slideLayouts/slideLayout232.xml"/><Relationship Id="rId30" Type="http://schemas.openxmlformats.org/officeDocument/2006/relationships/slideLayout" Target="../slideLayouts/slideLayout248.xml"/><Relationship Id="rId35" Type="http://schemas.openxmlformats.org/officeDocument/2006/relationships/slideLayout" Target="../slideLayouts/slideLayout253.xml"/><Relationship Id="rId56" Type="http://schemas.openxmlformats.org/officeDocument/2006/relationships/slideLayout" Target="../slideLayouts/slideLayout274.xml"/><Relationship Id="rId77" Type="http://schemas.openxmlformats.org/officeDocument/2006/relationships/slideLayout" Target="../slideLayouts/slideLayout295.xml"/><Relationship Id="rId100" Type="http://schemas.openxmlformats.org/officeDocument/2006/relationships/slideLayout" Target="../slideLayouts/slideLayout318.xml"/><Relationship Id="rId105" Type="http://schemas.openxmlformats.org/officeDocument/2006/relationships/slideLayout" Target="../slideLayouts/slideLayout323.xml"/><Relationship Id="rId126" Type="http://schemas.openxmlformats.org/officeDocument/2006/relationships/slideLayout" Target="../slideLayouts/slideLayout344.xml"/><Relationship Id="rId147" Type="http://schemas.openxmlformats.org/officeDocument/2006/relationships/slideLayout" Target="../slideLayouts/slideLayout365.xml"/><Relationship Id="rId168" Type="http://schemas.openxmlformats.org/officeDocument/2006/relationships/slideLayout" Target="../slideLayouts/slideLayout386.xml"/><Relationship Id="rId8" Type="http://schemas.openxmlformats.org/officeDocument/2006/relationships/slideLayout" Target="../slideLayouts/slideLayout226.xml"/><Relationship Id="rId51" Type="http://schemas.openxmlformats.org/officeDocument/2006/relationships/slideLayout" Target="../slideLayouts/slideLayout269.xml"/><Relationship Id="rId72" Type="http://schemas.openxmlformats.org/officeDocument/2006/relationships/slideLayout" Target="../slideLayouts/slideLayout290.xml"/><Relationship Id="rId93" Type="http://schemas.openxmlformats.org/officeDocument/2006/relationships/slideLayout" Target="../slideLayouts/slideLayout311.xml"/><Relationship Id="rId98" Type="http://schemas.openxmlformats.org/officeDocument/2006/relationships/slideLayout" Target="../slideLayouts/slideLayout316.xml"/><Relationship Id="rId121" Type="http://schemas.openxmlformats.org/officeDocument/2006/relationships/slideLayout" Target="../slideLayouts/slideLayout339.xml"/><Relationship Id="rId142" Type="http://schemas.openxmlformats.org/officeDocument/2006/relationships/slideLayout" Target="../slideLayouts/slideLayout360.xml"/><Relationship Id="rId163" Type="http://schemas.openxmlformats.org/officeDocument/2006/relationships/slideLayout" Target="../slideLayouts/slideLayout381.xml"/><Relationship Id="rId184" Type="http://schemas.openxmlformats.org/officeDocument/2006/relationships/slideLayout" Target="../slideLayouts/slideLayout402.xml"/><Relationship Id="rId189" Type="http://schemas.openxmlformats.org/officeDocument/2006/relationships/slideLayout" Target="../slideLayouts/slideLayout407.xml"/><Relationship Id="rId3" Type="http://schemas.openxmlformats.org/officeDocument/2006/relationships/slideLayout" Target="../slideLayouts/slideLayout221.xml"/><Relationship Id="rId25" Type="http://schemas.openxmlformats.org/officeDocument/2006/relationships/slideLayout" Target="../slideLayouts/slideLayout243.xml"/><Relationship Id="rId46" Type="http://schemas.openxmlformats.org/officeDocument/2006/relationships/slideLayout" Target="../slideLayouts/slideLayout264.xml"/><Relationship Id="rId67" Type="http://schemas.openxmlformats.org/officeDocument/2006/relationships/slideLayout" Target="../slideLayouts/slideLayout285.xml"/><Relationship Id="rId116" Type="http://schemas.openxmlformats.org/officeDocument/2006/relationships/slideLayout" Target="../slideLayouts/slideLayout334.xml"/><Relationship Id="rId137" Type="http://schemas.openxmlformats.org/officeDocument/2006/relationships/slideLayout" Target="../slideLayouts/slideLayout355.xml"/><Relationship Id="rId158" Type="http://schemas.openxmlformats.org/officeDocument/2006/relationships/slideLayout" Target="../slideLayouts/slideLayout376.xml"/><Relationship Id="rId20" Type="http://schemas.openxmlformats.org/officeDocument/2006/relationships/slideLayout" Target="../slideLayouts/slideLayout238.xml"/><Relationship Id="rId41" Type="http://schemas.openxmlformats.org/officeDocument/2006/relationships/slideLayout" Target="../slideLayouts/slideLayout259.xml"/><Relationship Id="rId62" Type="http://schemas.openxmlformats.org/officeDocument/2006/relationships/slideLayout" Target="../slideLayouts/slideLayout280.xml"/><Relationship Id="rId83" Type="http://schemas.openxmlformats.org/officeDocument/2006/relationships/slideLayout" Target="../slideLayouts/slideLayout301.xml"/><Relationship Id="rId88" Type="http://schemas.openxmlformats.org/officeDocument/2006/relationships/slideLayout" Target="../slideLayouts/slideLayout306.xml"/><Relationship Id="rId111" Type="http://schemas.openxmlformats.org/officeDocument/2006/relationships/slideLayout" Target="../slideLayouts/slideLayout329.xml"/><Relationship Id="rId132" Type="http://schemas.openxmlformats.org/officeDocument/2006/relationships/slideLayout" Target="../slideLayouts/slideLayout350.xml"/><Relationship Id="rId153" Type="http://schemas.openxmlformats.org/officeDocument/2006/relationships/slideLayout" Target="../slideLayouts/slideLayout371.xml"/><Relationship Id="rId174" Type="http://schemas.openxmlformats.org/officeDocument/2006/relationships/slideLayout" Target="../slideLayouts/slideLayout392.xml"/><Relationship Id="rId179" Type="http://schemas.openxmlformats.org/officeDocument/2006/relationships/slideLayout" Target="../slideLayouts/slideLayout397.xml"/><Relationship Id="rId195" Type="http://schemas.openxmlformats.org/officeDocument/2006/relationships/slideLayout" Target="../slideLayouts/slideLayout413.xml"/><Relationship Id="rId209" Type="http://schemas.openxmlformats.org/officeDocument/2006/relationships/oleObject" Target="../embeddings/oleObject57.bin"/><Relationship Id="rId190" Type="http://schemas.openxmlformats.org/officeDocument/2006/relationships/slideLayout" Target="../slideLayouts/slideLayout408.xml"/><Relationship Id="rId204" Type="http://schemas.openxmlformats.org/officeDocument/2006/relationships/slideLayout" Target="../slideLayouts/slideLayout422.xml"/><Relationship Id="rId15" Type="http://schemas.openxmlformats.org/officeDocument/2006/relationships/slideLayout" Target="../slideLayouts/slideLayout233.xml"/><Relationship Id="rId36" Type="http://schemas.openxmlformats.org/officeDocument/2006/relationships/slideLayout" Target="../slideLayouts/slideLayout254.xml"/><Relationship Id="rId57" Type="http://schemas.openxmlformats.org/officeDocument/2006/relationships/slideLayout" Target="../slideLayouts/slideLayout275.xml"/><Relationship Id="rId106" Type="http://schemas.openxmlformats.org/officeDocument/2006/relationships/slideLayout" Target="../slideLayouts/slideLayout324.xml"/><Relationship Id="rId127" Type="http://schemas.openxmlformats.org/officeDocument/2006/relationships/slideLayout" Target="../slideLayouts/slideLayout345.xml"/><Relationship Id="rId10" Type="http://schemas.openxmlformats.org/officeDocument/2006/relationships/slideLayout" Target="../slideLayouts/slideLayout228.xml"/><Relationship Id="rId31" Type="http://schemas.openxmlformats.org/officeDocument/2006/relationships/slideLayout" Target="../slideLayouts/slideLayout249.xml"/><Relationship Id="rId52" Type="http://schemas.openxmlformats.org/officeDocument/2006/relationships/slideLayout" Target="../slideLayouts/slideLayout270.xml"/><Relationship Id="rId73" Type="http://schemas.openxmlformats.org/officeDocument/2006/relationships/slideLayout" Target="../slideLayouts/slideLayout291.xml"/><Relationship Id="rId78" Type="http://schemas.openxmlformats.org/officeDocument/2006/relationships/slideLayout" Target="../slideLayouts/slideLayout296.xml"/><Relationship Id="rId94" Type="http://schemas.openxmlformats.org/officeDocument/2006/relationships/slideLayout" Target="../slideLayouts/slideLayout312.xml"/><Relationship Id="rId99" Type="http://schemas.openxmlformats.org/officeDocument/2006/relationships/slideLayout" Target="../slideLayouts/slideLayout317.xml"/><Relationship Id="rId101" Type="http://schemas.openxmlformats.org/officeDocument/2006/relationships/slideLayout" Target="../slideLayouts/slideLayout319.xml"/><Relationship Id="rId122" Type="http://schemas.openxmlformats.org/officeDocument/2006/relationships/slideLayout" Target="../slideLayouts/slideLayout340.xml"/><Relationship Id="rId143" Type="http://schemas.openxmlformats.org/officeDocument/2006/relationships/slideLayout" Target="../slideLayouts/slideLayout361.xml"/><Relationship Id="rId148" Type="http://schemas.openxmlformats.org/officeDocument/2006/relationships/slideLayout" Target="../slideLayouts/slideLayout366.xml"/><Relationship Id="rId164" Type="http://schemas.openxmlformats.org/officeDocument/2006/relationships/slideLayout" Target="../slideLayouts/slideLayout382.xml"/><Relationship Id="rId169" Type="http://schemas.openxmlformats.org/officeDocument/2006/relationships/slideLayout" Target="../slideLayouts/slideLayout387.xml"/><Relationship Id="rId185" Type="http://schemas.openxmlformats.org/officeDocument/2006/relationships/slideLayout" Target="../slideLayouts/slideLayout403.xml"/><Relationship Id="rId4" Type="http://schemas.openxmlformats.org/officeDocument/2006/relationships/slideLayout" Target="../slideLayouts/slideLayout222.xml"/><Relationship Id="rId9" Type="http://schemas.openxmlformats.org/officeDocument/2006/relationships/slideLayout" Target="../slideLayouts/slideLayout227.xml"/><Relationship Id="rId180" Type="http://schemas.openxmlformats.org/officeDocument/2006/relationships/slideLayout" Target="../slideLayouts/slideLayout398.xml"/><Relationship Id="rId210" Type="http://schemas.openxmlformats.org/officeDocument/2006/relationships/image" Target="../media/image1.emf"/><Relationship Id="rId26" Type="http://schemas.openxmlformats.org/officeDocument/2006/relationships/slideLayout" Target="../slideLayouts/slideLayout244.xml"/><Relationship Id="rId47" Type="http://schemas.openxmlformats.org/officeDocument/2006/relationships/slideLayout" Target="../slideLayouts/slideLayout265.xml"/><Relationship Id="rId68" Type="http://schemas.openxmlformats.org/officeDocument/2006/relationships/slideLayout" Target="../slideLayouts/slideLayout286.xml"/><Relationship Id="rId89" Type="http://schemas.openxmlformats.org/officeDocument/2006/relationships/slideLayout" Target="../slideLayouts/slideLayout307.xml"/><Relationship Id="rId112" Type="http://schemas.openxmlformats.org/officeDocument/2006/relationships/slideLayout" Target="../slideLayouts/slideLayout330.xml"/><Relationship Id="rId133" Type="http://schemas.openxmlformats.org/officeDocument/2006/relationships/slideLayout" Target="../slideLayouts/slideLayout351.xml"/><Relationship Id="rId154" Type="http://schemas.openxmlformats.org/officeDocument/2006/relationships/slideLayout" Target="../slideLayouts/slideLayout372.xml"/><Relationship Id="rId175" Type="http://schemas.openxmlformats.org/officeDocument/2006/relationships/slideLayout" Target="../slideLayouts/slideLayout393.xml"/><Relationship Id="rId196" Type="http://schemas.openxmlformats.org/officeDocument/2006/relationships/slideLayout" Target="../slideLayouts/slideLayout414.xml"/><Relationship Id="rId200" Type="http://schemas.openxmlformats.org/officeDocument/2006/relationships/slideLayout" Target="../slideLayouts/slideLayout418.xml"/><Relationship Id="rId16" Type="http://schemas.openxmlformats.org/officeDocument/2006/relationships/slideLayout" Target="../slideLayouts/slideLayout234.xml"/><Relationship Id="rId37" Type="http://schemas.openxmlformats.org/officeDocument/2006/relationships/slideLayout" Target="../slideLayouts/slideLayout255.xml"/><Relationship Id="rId58" Type="http://schemas.openxmlformats.org/officeDocument/2006/relationships/slideLayout" Target="../slideLayouts/slideLayout276.xml"/><Relationship Id="rId79" Type="http://schemas.openxmlformats.org/officeDocument/2006/relationships/slideLayout" Target="../slideLayouts/slideLayout297.xml"/><Relationship Id="rId102" Type="http://schemas.openxmlformats.org/officeDocument/2006/relationships/slideLayout" Target="../slideLayouts/slideLayout320.xml"/><Relationship Id="rId123" Type="http://schemas.openxmlformats.org/officeDocument/2006/relationships/slideLayout" Target="../slideLayouts/slideLayout341.xml"/><Relationship Id="rId144" Type="http://schemas.openxmlformats.org/officeDocument/2006/relationships/slideLayout" Target="../slideLayouts/slideLayout362.xml"/><Relationship Id="rId90" Type="http://schemas.openxmlformats.org/officeDocument/2006/relationships/slideLayout" Target="../slideLayouts/slideLayout308.xml"/><Relationship Id="rId165" Type="http://schemas.openxmlformats.org/officeDocument/2006/relationships/slideLayout" Target="../slideLayouts/slideLayout383.xml"/><Relationship Id="rId186" Type="http://schemas.openxmlformats.org/officeDocument/2006/relationships/slideLayout" Target="../slideLayouts/slideLayout404.xml"/><Relationship Id="rId211" Type="http://schemas.openxmlformats.org/officeDocument/2006/relationships/image" Target="../media/image18.png"/><Relationship Id="rId27" Type="http://schemas.openxmlformats.org/officeDocument/2006/relationships/slideLayout" Target="../slideLayouts/slideLayout245.xml"/><Relationship Id="rId48" Type="http://schemas.openxmlformats.org/officeDocument/2006/relationships/slideLayout" Target="../slideLayouts/slideLayout266.xml"/><Relationship Id="rId69" Type="http://schemas.openxmlformats.org/officeDocument/2006/relationships/slideLayout" Target="../slideLayouts/slideLayout287.xml"/><Relationship Id="rId113" Type="http://schemas.openxmlformats.org/officeDocument/2006/relationships/slideLayout" Target="../slideLayouts/slideLayout331.xml"/><Relationship Id="rId134" Type="http://schemas.openxmlformats.org/officeDocument/2006/relationships/slideLayout" Target="../slideLayouts/slideLayout352.xml"/><Relationship Id="rId80" Type="http://schemas.openxmlformats.org/officeDocument/2006/relationships/slideLayout" Target="../slideLayouts/slideLayout298.xml"/><Relationship Id="rId155" Type="http://schemas.openxmlformats.org/officeDocument/2006/relationships/slideLayout" Target="../slideLayouts/slideLayout373.xml"/><Relationship Id="rId176" Type="http://schemas.openxmlformats.org/officeDocument/2006/relationships/slideLayout" Target="../slideLayouts/slideLayout394.xml"/><Relationship Id="rId197" Type="http://schemas.openxmlformats.org/officeDocument/2006/relationships/slideLayout" Target="../slideLayouts/slideLayout415.xml"/><Relationship Id="rId201" Type="http://schemas.openxmlformats.org/officeDocument/2006/relationships/slideLayout" Target="../slideLayouts/slideLayout419.xml"/><Relationship Id="rId17" Type="http://schemas.openxmlformats.org/officeDocument/2006/relationships/slideLayout" Target="../slideLayouts/slideLayout235.xml"/><Relationship Id="rId38" Type="http://schemas.openxmlformats.org/officeDocument/2006/relationships/slideLayout" Target="../slideLayouts/slideLayout256.xml"/><Relationship Id="rId59" Type="http://schemas.openxmlformats.org/officeDocument/2006/relationships/slideLayout" Target="../slideLayouts/slideLayout277.xml"/><Relationship Id="rId103" Type="http://schemas.openxmlformats.org/officeDocument/2006/relationships/slideLayout" Target="../slideLayouts/slideLayout321.xml"/><Relationship Id="rId124" Type="http://schemas.openxmlformats.org/officeDocument/2006/relationships/slideLayout" Target="../slideLayouts/slideLayout342.xml"/><Relationship Id="rId70" Type="http://schemas.openxmlformats.org/officeDocument/2006/relationships/slideLayout" Target="../slideLayouts/slideLayout288.xml"/><Relationship Id="rId91" Type="http://schemas.openxmlformats.org/officeDocument/2006/relationships/slideLayout" Target="../slideLayouts/slideLayout309.xml"/><Relationship Id="rId145" Type="http://schemas.openxmlformats.org/officeDocument/2006/relationships/slideLayout" Target="../slideLayouts/slideLayout363.xml"/><Relationship Id="rId166" Type="http://schemas.openxmlformats.org/officeDocument/2006/relationships/slideLayout" Target="../slideLayouts/slideLayout384.xml"/><Relationship Id="rId187" Type="http://schemas.openxmlformats.org/officeDocument/2006/relationships/slideLayout" Target="../slideLayouts/slideLayout405.xml"/><Relationship Id="rId1" Type="http://schemas.openxmlformats.org/officeDocument/2006/relationships/slideLayout" Target="../slideLayouts/slideLayout219.xml"/><Relationship Id="rId28" Type="http://schemas.openxmlformats.org/officeDocument/2006/relationships/slideLayout" Target="../slideLayouts/slideLayout246.xml"/><Relationship Id="rId49" Type="http://schemas.openxmlformats.org/officeDocument/2006/relationships/slideLayout" Target="../slideLayouts/slideLayout267.xml"/><Relationship Id="rId114" Type="http://schemas.openxmlformats.org/officeDocument/2006/relationships/slideLayout" Target="../slideLayouts/slideLayout332.xml"/><Relationship Id="rId60" Type="http://schemas.openxmlformats.org/officeDocument/2006/relationships/slideLayout" Target="../slideLayouts/slideLayout278.xml"/><Relationship Id="rId81" Type="http://schemas.openxmlformats.org/officeDocument/2006/relationships/slideLayout" Target="../slideLayouts/slideLayout299.xml"/><Relationship Id="rId135" Type="http://schemas.openxmlformats.org/officeDocument/2006/relationships/slideLayout" Target="../slideLayouts/slideLayout353.xml"/><Relationship Id="rId156" Type="http://schemas.openxmlformats.org/officeDocument/2006/relationships/slideLayout" Target="../slideLayouts/slideLayout374.xml"/><Relationship Id="rId177" Type="http://schemas.openxmlformats.org/officeDocument/2006/relationships/slideLayout" Target="../slideLayouts/slideLayout395.xml"/><Relationship Id="rId198" Type="http://schemas.openxmlformats.org/officeDocument/2006/relationships/slideLayout" Target="../slideLayouts/slideLayout416.xml"/><Relationship Id="rId202" Type="http://schemas.openxmlformats.org/officeDocument/2006/relationships/slideLayout" Target="../slideLayouts/slideLayout420.xml"/><Relationship Id="rId18" Type="http://schemas.openxmlformats.org/officeDocument/2006/relationships/slideLayout" Target="../slideLayouts/slideLayout236.xml"/><Relationship Id="rId39" Type="http://schemas.openxmlformats.org/officeDocument/2006/relationships/slideLayout" Target="../slideLayouts/slideLayout257.xml"/><Relationship Id="rId50" Type="http://schemas.openxmlformats.org/officeDocument/2006/relationships/slideLayout" Target="../slideLayouts/slideLayout268.xml"/><Relationship Id="rId104" Type="http://schemas.openxmlformats.org/officeDocument/2006/relationships/slideLayout" Target="../slideLayouts/slideLayout322.xml"/><Relationship Id="rId125" Type="http://schemas.openxmlformats.org/officeDocument/2006/relationships/slideLayout" Target="../slideLayouts/slideLayout343.xml"/><Relationship Id="rId146" Type="http://schemas.openxmlformats.org/officeDocument/2006/relationships/slideLayout" Target="../slideLayouts/slideLayout364.xml"/><Relationship Id="rId167" Type="http://schemas.openxmlformats.org/officeDocument/2006/relationships/slideLayout" Target="../slideLayouts/slideLayout385.xml"/><Relationship Id="rId188" Type="http://schemas.openxmlformats.org/officeDocument/2006/relationships/slideLayout" Target="../slideLayouts/slideLayout406.xml"/><Relationship Id="rId71" Type="http://schemas.openxmlformats.org/officeDocument/2006/relationships/slideLayout" Target="../slideLayouts/slideLayout289.xml"/><Relationship Id="rId92" Type="http://schemas.openxmlformats.org/officeDocument/2006/relationships/slideLayout" Target="../slideLayouts/slideLayout310.xml"/><Relationship Id="rId2" Type="http://schemas.openxmlformats.org/officeDocument/2006/relationships/slideLayout" Target="../slideLayouts/slideLayout220.xml"/><Relationship Id="rId29" Type="http://schemas.openxmlformats.org/officeDocument/2006/relationships/slideLayout" Target="../slideLayouts/slideLayout247.xml"/><Relationship Id="rId40" Type="http://schemas.openxmlformats.org/officeDocument/2006/relationships/slideLayout" Target="../slideLayouts/slideLayout258.xml"/><Relationship Id="rId115" Type="http://schemas.openxmlformats.org/officeDocument/2006/relationships/slideLayout" Target="../slideLayouts/slideLayout333.xml"/><Relationship Id="rId136" Type="http://schemas.openxmlformats.org/officeDocument/2006/relationships/slideLayout" Target="../slideLayouts/slideLayout354.xml"/><Relationship Id="rId157" Type="http://schemas.openxmlformats.org/officeDocument/2006/relationships/slideLayout" Target="../slideLayouts/slideLayout375.xml"/><Relationship Id="rId178" Type="http://schemas.openxmlformats.org/officeDocument/2006/relationships/slideLayout" Target="../slideLayouts/slideLayout396.xml"/></Relationships>
</file>

<file path=ppt/slideMasters/_rels/slideMaster3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541.xml"/><Relationship Id="rId21" Type="http://schemas.openxmlformats.org/officeDocument/2006/relationships/slideLayout" Target="../slideLayouts/slideLayout445.xml"/><Relationship Id="rId42" Type="http://schemas.openxmlformats.org/officeDocument/2006/relationships/slideLayout" Target="../slideLayouts/slideLayout466.xml"/><Relationship Id="rId63" Type="http://schemas.openxmlformats.org/officeDocument/2006/relationships/slideLayout" Target="../slideLayouts/slideLayout487.xml"/><Relationship Id="rId84" Type="http://schemas.openxmlformats.org/officeDocument/2006/relationships/slideLayout" Target="../slideLayouts/slideLayout508.xml"/><Relationship Id="rId16" Type="http://schemas.openxmlformats.org/officeDocument/2006/relationships/slideLayout" Target="../slideLayouts/slideLayout440.xml"/><Relationship Id="rId107" Type="http://schemas.openxmlformats.org/officeDocument/2006/relationships/slideLayout" Target="../slideLayouts/slideLayout531.xml"/><Relationship Id="rId11" Type="http://schemas.openxmlformats.org/officeDocument/2006/relationships/slideLayout" Target="../slideLayouts/slideLayout435.xml"/><Relationship Id="rId32" Type="http://schemas.openxmlformats.org/officeDocument/2006/relationships/slideLayout" Target="../slideLayouts/slideLayout456.xml"/><Relationship Id="rId37" Type="http://schemas.openxmlformats.org/officeDocument/2006/relationships/slideLayout" Target="../slideLayouts/slideLayout461.xml"/><Relationship Id="rId53" Type="http://schemas.openxmlformats.org/officeDocument/2006/relationships/slideLayout" Target="../slideLayouts/slideLayout477.xml"/><Relationship Id="rId58" Type="http://schemas.openxmlformats.org/officeDocument/2006/relationships/slideLayout" Target="../slideLayouts/slideLayout482.xml"/><Relationship Id="rId74" Type="http://schemas.openxmlformats.org/officeDocument/2006/relationships/slideLayout" Target="../slideLayouts/slideLayout498.xml"/><Relationship Id="rId79" Type="http://schemas.openxmlformats.org/officeDocument/2006/relationships/slideLayout" Target="../slideLayouts/slideLayout503.xml"/><Relationship Id="rId102" Type="http://schemas.openxmlformats.org/officeDocument/2006/relationships/slideLayout" Target="../slideLayouts/slideLayout526.xml"/><Relationship Id="rId123" Type="http://schemas.openxmlformats.org/officeDocument/2006/relationships/slideLayout" Target="../slideLayouts/slideLayout547.xml"/><Relationship Id="rId128" Type="http://schemas.openxmlformats.org/officeDocument/2006/relationships/slideLayout" Target="../slideLayouts/slideLayout552.xml"/><Relationship Id="rId5" Type="http://schemas.openxmlformats.org/officeDocument/2006/relationships/slideLayout" Target="../slideLayouts/slideLayout429.xml"/><Relationship Id="rId90" Type="http://schemas.openxmlformats.org/officeDocument/2006/relationships/slideLayout" Target="../slideLayouts/slideLayout514.xml"/><Relationship Id="rId95" Type="http://schemas.openxmlformats.org/officeDocument/2006/relationships/slideLayout" Target="../slideLayouts/slideLayout519.xml"/><Relationship Id="rId22" Type="http://schemas.openxmlformats.org/officeDocument/2006/relationships/slideLayout" Target="../slideLayouts/slideLayout446.xml"/><Relationship Id="rId27" Type="http://schemas.openxmlformats.org/officeDocument/2006/relationships/slideLayout" Target="../slideLayouts/slideLayout451.xml"/><Relationship Id="rId43" Type="http://schemas.openxmlformats.org/officeDocument/2006/relationships/slideLayout" Target="../slideLayouts/slideLayout467.xml"/><Relationship Id="rId48" Type="http://schemas.openxmlformats.org/officeDocument/2006/relationships/slideLayout" Target="../slideLayouts/slideLayout472.xml"/><Relationship Id="rId64" Type="http://schemas.openxmlformats.org/officeDocument/2006/relationships/slideLayout" Target="../slideLayouts/slideLayout488.xml"/><Relationship Id="rId69" Type="http://schemas.openxmlformats.org/officeDocument/2006/relationships/slideLayout" Target="../slideLayouts/slideLayout493.xml"/><Relationship Id="rId113" Type="http://schemas.openxmlformats.org/officeDocument/2006/relationships/slideLayout" Target="../slideLayouts/slideLayout537.xml"/><Relationship Id="rId118" Type="http://schemas.openxmlformats.org/officeDocument/2006/relationships/slideLayout" Target="../slideLayouts/slideLayout542.xml"/><Relationship Id="rId134" Type="http://schemas.openxmlformats.org/officeDocument/2006/relationships/image" Target="../media/image1.emf"/><Relationship Id="rId80" Type="http://schemas.openxmlformats.org/officeDocument/2006/relationships/slideLayout" Target="../slideLayouts/slideLayout504.xml"/><Relationship Id="rId85" Type="http://schemas.openxmlformats.org/officeDocument/2006/relationships/slideLayout" Target="../slideLayouts/slideLayout509.xml"/><Relationship Id="rId12" Type="http://schemas.openxmlformats.org/officeDocument/2006/relationships/slideLayout" Target="../slideLayouts/slideLayout436.xml"/><Relationship Id="rId17" Type="http://schemas.openxmlformats.org/officeDocument/2006/relationships/slideLayout" Target="../slideLayouts/slideLayout441.xml"/><Relationship Id="rId33" Type="http://schemas.openxmlformats.org/officeDocument/2006/relationships/slideLayout" Target="../slideLayouts/slideLayout457.xml"/><Relationship Id="rId38" Type="http://schemas.openxmlformats.org/officeDocument/2006/relationships/slideLayout" Target="../slideLayouts/slideLayout462.xml"/><Relationship Id="rId59" Type="http://schemas.openxmlformats.org/officeDocument/2006/relationships/slideLayout" Target="../slideLayouts/slideLayout483.xml"/><Relationship Id="rId103" Type="http://schemas.openxmlformats.org/officeDocument/2006/relationships/slideLayout" Target="../slideLayouts/slideLayout527.xml"/><Relationship Id="rId108" Type="http://schemas.openxmlformats.org/officeDocument/2006/relationships/slideLayout" Target="../slideLayouts/slideLayout532.xml"/><Relationship Id="rId124" Type="http://schemas.openxmlformats.org/officeDocument/2006/relationships/slideLayout" Target="../slideLayouts/slideLayout548.xml"/><Relationship Id="rId129" Type="http://schemas.openxmlformats.org/officeDocument/2006/relationships/slideLayout" Target="../slideLayouts/slideLayout553.xml"/><Relationship Id="rId54" Type="http://schemas.openxmlformats.org/officeDocument/2006/relationships/slideLayout" Target="../slideLayouts/slideLayout478.xml"/><Relationship Id="rId70" Type="http://schemas.openxmlformats.org/officeDocument/2006/relationships/slideLayout" Target="../slideLayouts/slideLayout494.xml"/><Relationship Id="rId75" Type="http://schemas.openxmlformats.org/officeDocument/2006/relationships/slideLayout" Target="../slideLayouts/slideLayout499.xml"/><Relationship Id="rId91" Type="http://schemas.openxmlformats.org/officeDocument/2006/relationships/slideLayout" Target="../slideLayouts/slideLayout515.xml"/><Relationship Id="rId96" Type="http://schemas.openxmlformats.org/officeDocument/2006/relationships/slideLayout" Target="../slideLayouts/slideLayout520.xml"/><Relationship Id="rId1" Type="http://schemas.openxmlformats.org/officeDocument/2006/relationships/slideLayout" Target="../slideLayouts/slideLayout425.xml"/><Relationship Id="rId6" Type="http://schemas.openxmlformats.org/officeDocument/2006/relationships/slideLayout" Target="../slideLayouts/slideLayout430.xml"/><Relationship Id="rId23" Type="http://schemas.openxmlformats.org/officeDocument/2006/relationships/slideLayout" Target="../slideLayouts/slideLayout447.xml"/><Relationship Id="rId28" Type="http://schemas.openxmlformats.org/officeDocument/2006/relationships/slideLayout" Target="../slideLayouts/slideLayout452.xml"/><Relationship Id="rId49" Type="http://schemas.openxmlformats.org/officeDocument/2006/relationships/slideLayout" Target="../slideLayouts/slideLayout473.xml"/><Relationship Id="rId114" Type="http://schemas.openxmlformats.org/officeDocument/2006/relationships/slideLayout" Target="../slideLayouts/slideLayout538.xml"/><Relationship Id="rId119" Type="http://schemas.openxmlformats.org/officeDocument/2006/relationships/slideLayout" Target="../slideLayouts/slideLayout543.xml"/><Relationship Id="rId44" Type="http://schemas.openxmlformats.org/officeDocument/2006/relationships/slideLayout" Target="../slideLayouts/slideLayout468.xml"/><Relationship Id="rId60" Type="http://schemas.openxmlformats.org/officeDocument/2006/relationships/slideLayout" Target="../slideLayouts/slideLayout484.xml"/><Relationship Id="rId65" Type="http://schemas.openxmlformats.org/officeDocument/2006/relationships/slideLayout" Target="../slideLayouts/slideLayout489.xml"/><Relationship Id="rId81" Type="http://schemas.openxmlformats.org/officeDocument/2006/relationships/slideLayout" Target="../slideLayouts/slideLayout505.xml"/><Relationship Id="rId86" Type="http://schemas.openxmlformats.org/officeDocument/2006/relationships/slideLayout" Target="../slideLayouts/slideLayout510.xml"/><Relationship Id="rId130" Type="http://schemas.openxmlformats.org/officeDocument/2006/relationships/slideLayout" Target="../slideLayouts/slideLayout554.xml"/><Relationship Id="rId135" Type="http://schemas.openxmlformats.org/officeDocument/2006/relationships/image" Target="../media/image29.png"/><Relationship Id="rId13" Type="http://schemas.openxmlformats.org/officeDocument/2006/relationships/slideLayout" Target="../slideLayouts/slideLayout437.xml"/><Relationship Id="rId18" Type="http://schemas.openxmlformats.org/officeDocument/2006/relationships/slideLayout" Target="../slideLayouts/slideLayout442.xml"/><Relationship Id="rId39" Type="http://schemas.openxmlformats.org/officeDocument/2006/relationships/slideLayout" Target="../slideLayouts/slideLayout463.xml"/><Relationship Id="rId109" Type="http://schemas.openxmlformats.org/officeDocument/2006/relationships/slideLayout" Target="../slideLayouts/slideLayout533.xml"/><Relationship Id="rId34" Type="http://schemas.openxmlformats.org/officeDocument/2006/relationships/slideLayout" Target="../slideLayouts/slideLayout458.xml"/><Relationship Id="rId50" Type="http://schemas.openxmlformats.org/officeDocument/2006/relationships/slideLayout" Target="../slideLayouts/slideLayout474.xml"/><Relationship Id="rId55" Type="http://schemas.openxmlformats.org/officeDocument/2006/relationships/slideLayout" Target="../slideLayouts/slideLayout479.xml"/><Relationship Id="rId76" Type="http://schemas.openxmlformats.org/officeDocument/2006/relationships/slideLayout" Target="../slideLayouts/slideLayout500.xml"/><Relationship Id="rId97" Type="http://schemas.openxmlformats.org/officeDocument/2006/relationships/slideLayout" Target="../slideLayouts/slideLayout521.xml"/><Relationship Id="rId104" Type="http://schemas.openxmlformats.org/officeDocument/2006/relationships/slideLayout" Target="../slideLayouts/slideLayout528.xml"/><Relationship Id="rId120" Type="http://schemas.openxmlformats.org/officeDocument/2006/relationships/slideLayout" Target="../slideLayouts/slideLayout544.xml"/><Relationship Id="rId125" Type="http://schemas.openxmlformats.org/officeDocument/2006/relationships/slideLayout" Target="../slideLayouts/slideLayout549.xml"/><Relationship Id="rId7" Type="http://schemas.openxmlformats.org/officeDocument/2006/relationships/slideLayout" Target="../slideLayouts/slideLayout431.xml"/><Relationship Id="rId71" Type="http://schemas.openxmlformats.org/officeDocument/2006/relationships/slideLayout" Target="../slideLayouts/slideLayout495.xml"/><Relationship Id="rId92" Type="http://schemas.openxmlformats.org/officeDocument/2006/relationships/slideLayout" Target="../slideLayouts/slideLayout516.xml"/><Relationship Id="rId2" Type="http://schemas.openxmlformats.org/officeDocument/2006/relationships/slideLayout" Target="../slideLayouts/slideLayout426.xml"/><Relationship Id="rId29" Type="http://schemas.openxmlformats.org/officeDocument/2006/relationships/slideLayout" Target="../slideLayouts/slideLayout453.xml"/><Relationship Id="rId24" Type="http://schemas.openxmlformats.org/officeDocument/2006/relationships/slideLayout" Target="../slideLayouts/slideLayout448.xml"/><Relationship Id="rId40" Type="http://schemas.openxmlformats.org/officeDocument/2006/relationships/slideLayout" Target="../slideLayouts/slideLayout464.xml"/><Relationship Id="rId45" Type="http://schemas.openxmlformats.org/officeDocument/2006/relationships/slideLayout" Target="../slideLayouts/slideLayout469.xml"/><Relationship Id="rId66" Type="http://schemas.openxmlformats.org/officeDocument/2006/relationships/slideLayout" Target="../slideLayouts/slideLayout490.xml"/><Relationship Id="rId87" Type="http://schemas.openxmlformats.org/officeDocument/2006/relationships/slideLayout" Target="../slideLayouts/slideLayout511.xml"/><Relationship Id="rId110" Type="http://schemas.openxmlformats.org/officeDocument/2006/relationships/slideLayout" Target="../slideLayouts/slideLayout534.xml"/><Relationship Id="rId115" Type="http://schemas.openxmlformats.org/officeDocument/2006/relationships/slideLayout" Target="../slideLayouts/slideLayout539.xml"/><Relationship Id="rId131" Type="http://schemas.openxmlformats.org/officeDocument/2006/relationships/theme" Target="../theme/theme3.xml"/><Relationship Id="rId61" Type="http://schemas.openxmlformats.org/officeDocument/2006/relationships/slideLayout" Target="../slideLayouts/slideLayout485.xml"/><Relationship Id="rId82" Type="http://schemas.openxmlformats.org/officeDocument/2006/relationships/slideLayout" Target="../slideLayouts/slideLayout506.xml"/><Relationship Id="rId19" Type="http://schemas.openxmlformats.org/officeDocument/2006/relationships/slideLayout" Target="../slideLayouts/slideLayout443.xml"/><Relationship Id="rId14" Type="http://schemas.openxmlformats.org/officeDocument/2006/relationships/slideLayout" Target="../slideLayouts/slideLayout438.xml"/><Relationship Id="rId30" Type="http://schemas.openxmlformats.org/officeDocument/2006/relationships/slideLayout" Target="../slideLayouts/slideLayout454.xml"/><Relationship Id="rId35" Type="http://schemas.openxmlformats.org/officeDocument/2006/relationships/slideLayout" Target="../slideLayouts/slideLayout459.xml"/><Relationship Id="rId56" Type="http://schemas.openxmlformats.org/officeDocument/2006/relationships/slideLayout" Target="../slideLayouts/slideLayout480.xml"/><Relationship Id="rId77" Type="http://schemas.openxmlformats.org/officeDocument/2006/relationships/slideLayout" Target="../slideLayouts/slideLayout501.xml"/><Relationship Id="rId100" Type="http://schemas.openxmlformats.org/officeDocument/2006/relationships/slideLayout" Target="../slideLayouts/slideLayout524.xml"/><Relationship Id="rId105" Type="http://schemas.openxmlformats.org/officeDocument/2006/relationships/slideLayout" Target="../slideLayouts/slideLayout529.xml"/><Relationship Id="rId126" Type="http://schemas.openxmlformats.org/officeDocument/2006/relationships/slideLayout" Target="../slideLayouts/slideLayout550.xml"/><Relationship Id="rId8" Type="http://schemas.openxmlformats.org/officeDocument/2006/relationships/slideLayout" Target="../slideLayouts/slideLayout432.xml"/><Relationship Id="rId51" Type="http://schemas.openxmlformats.org/officeDocument/2006/relationships/slideLayout" Target="../slideLayouts/slideLayout475.xml"/><Relationship Id="rId72" Type="http://schemas.openxmlformats.org/officeDocument/2006/relationships/slideLayout" Target="../slideLayouts/slideLayout496.xml"/><Relationship Id="rId93" Type="http://schemas.openxmlformats.org/officeDocument/2006/relationships/slideLayout" Target="../slideLayouts/slideLayout517.xml"/><Relationship Id="rId98" Type="http://schemas.openxmlformats.org/officeDocument/2006/relationships/slideLayout" Target="../slideLayouts/slideLayout522.xml"/><Relationship Id="rId121" Type="http://schemas.openxmlformats.org/officeDocument/2006/relationships/slideLayout" Target="../slideLayouts/slideLayout545.xml"/><Relationship Id="rId3" Type="http://schemas.openxmlformats.org/officeDocument/2006/relationships/slideLayout" Target="../slideLayouts/slideLayout427.xml"/><Relationship Id="rId25" Type="http://schemas.openxmlformats.org/officeDocument/2006/relationships/slideLayout" Target="../slideLayouts/slideLayout449.xml"/><Relationship Id="rId46" Type="http://schemas.openxmlformats.org/officeDocument/2006/relationships/slideLayout" Target="../slideLayouts/slideLayout470.xml"/><Relationship Id="rId67" Type="http://schemas.openxmlformats.org/officeDocument/2006/relationships/slideLayout" Target="../slideLayouts/slideLayout491.xml"/><Relationship Id="rId116" Type="http://schemas.openxmlformats.org/officeDocument/2006/relationships/slideLayout" Target="../slideLayouts/slideLayout540.xml"/><Relationship Id="rId20" Type="http://schemas.openxmlformats.org/officeDocument/2006/relationships/slideLayout" Target="../slideLayouts/slideLayout444.xml"/><Relationship Id="rId41" Type="http://schemas.openxmlformats.org/officeDocument/2006/relationships/slideLayout" Target="../slideLayouts/slideLayout465.xml"/><Relationship Id="rId62" Type="http://schemas.openxmlformats.org/officeDocument/2006/relationships/slideLayout" Target="../slideLayouts/slideLayout486.xml"/><Relationship Id="rId83" Type="http://schemas.openxmlformats.org/officeDocument/2006/relationships/slideLayout" Target="../slideLayouts/slideLayout507.xml"/><Relationship Id="rId88" Type="http://schemas.openxmlformats.org/officeDocument/2006/relationships/slideLayout" Target="../slideLayouts/slideLayout512.xml"/><Relationship Id="rId111" Type="http://schemas.openxmlformats.org/officeDocument/2006/relationships/slideLayout" Target="../slideLayouts/slideLayout535.xml"/><Relationship Id="rId132" Type="http://schemas.openxmlformats.org/officeDocument/2006/relationships/tags" Target="../tags/tag577.xml"/><Relationship Id="rId15" Type="http://schemas.openxmlformats.org/officeDocument/2006/relationships/slideLayout" Target="../slideLayouts/slideLayout439.xml"/><Relationship Id="rId36" Type="http://schemas.openxmlformats.org/officeDocument/2006/relationships/slideLayout" Target="../slideLayouts/slideLayout460.xml"/><Relationship Id="rId57" Type="http://schemas.openxmlformats.org/officeDocument/2006/relationships/slideLayout" Target="../slideLayouts/slideLayout481.xml"/><Relationship Id="rId106" Type="http://schemas.openxmlformats.org/officeDocument/2006/relationships/slideLayout" Target="../slideLayouts/slideLayout530.xml"/><Relationship Id="rId127" Type="http://schemas.openxmlformats.org/officeDocument/2006/relationships/slideLayout" Target="../slideLayouts/slideLayout551.xml"/><Relationship Id="rId10" Type="http://schemas.openxmlformats.org/officeDocument/2006/relationships/slideLayout" Target="../slideLayouts/slideLayout434.xml"/><Relationship Id="rId31" Type="http://schemas.openxmlformats.org/officeDocument/2006/relationships/slideLayout" Target="../slideLayouts/slideLayout455.xml"/><Relationship Id="rId52" Type="http://schemas.openxmlformats.org/officeDocument/2006/relationships/slideLayout" Target="../slideLayouts/slideLayout476.xml"/><Relationship Id="rId73" Type="http://schemas.openxmlformats.org/officeDocument/2006/relationships/slideLayout" Target="../slideLayouts/slideLayout497.xml"/><Relationship Id="rId78" Type="http://schemas.openxmlformats.org/officeDocument/2006/relationships/slideLayout" Target="../slideLayouts/slideLayout502.xml"/><Relationship Id="rId94" Type="http://schemas.openxmlformats.org/officeDocument/2006/relationships/slideLayout" Target="../slideLayouts/slideLayout518.xml"/><Relationship Id="rId99" Type="http://schemas.openxmlformats.org/officeDocument/2006/relationships/slideLayout" Target="../slideLayouts/slideLayout523.xml"/><Relationship Id="rId101" Type="http://schemas.openxmlformats.org/officeDocument/2006/relationships/slideLayout" Target="../slideLayouts/slideLayout525.xml"/><Relationship Id="rId122" Type="http://schemas.openxmlformats.org/officeDocument/2006/relationships/slideLayout" Target="../slideLayouts/slideLayout546.xml"/><Relationship Id="rId4" Type="http://schemas.openxmlformats.org/officeDocument/2006/relationships/slideLayout" Target="../slideLayouts/slideLayout428.xml"/><Relationship Id="rId9" Type="http://schemas.openxmlformats.org/officeDocument/2006/relationships/slideLayout" Target="../slideLayouts/slideLayout433.xml"/><Relationship Id="rId26" Type="http://schemas.openxmlformats.org/officeDocument/2006/relationships/slideLayout" Target="../slideLayouts/slideLayout450.xml"/><Relationship Id="rId47" Type="http://schemas.openxmlformats.org/officeDocument/2006/relationships/slideLayout" Target="../slideLayouts/slideLayout471.xml"/><Relationship Id="rId68" Type="http://schemas.openxmlformats.org/officeDocument/2006/relationships/slideLayout" Target="../slideLayouts/slideLayout492.xml"/><Relationship Id="rId89" Type="http://schemas.openxmlformats.org/officeDocument/2006/relationships/slideLayout" Target="../slideLayouts/slideLayout513.xml"/><Relationship Id="rId112" Type="http://schemas.openxmlformats.org/officeDocument/2006/relationships/slideLayout" Target="../slideLayouts/slideLayout536.xml"/><Relationship Id="rId133" Type="http://schemas.openxmlformats.org/officeDocument/2006/relationships/oleObject" Target="../embeddings/oleObject153.bin"/></Relationships>
</file>

<file path=ppt/slideMasters/_rels/slideMaster4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671.xml"/><Relationship Id="rId21" Type="http://schemas.openxmlformats.org/officeDocument/2006/relationships/slideLayout" Target="../slideLayouts/slideLayout575.xml"/><Relationship Id="rId42" Type="http://schemas.openxmlformats.org/officeDocument/2006/relationships/slideLayout" Target="../slideLayouts/slideLayout596.xml"/><Relationship Id="rId63" Type="http://schemas.openxmlformats.org/officeDocument/2006/relationships/slideLayout" Target="../slideLayouts/slideLayout617.xml"/><Relationship Id="rId84" Type="http://schemas.openxmlformats.org/officeDocument/2006/relationships/slideLayout" Target="../slideLayouts/slideLayout638.xml"/><Relationship Id="rId138" Type="http://schemas.openxmlformats.org/officeDocument/2006/relationships/slideLayout" Target="../slideLayouts/slideLayout692.xml"/><Relationship Id="rId159" Type="http://schemas.openxmlformats.org/officeDocument/2006/relationships/slideLayout" Target="../slideLayouts/slideLayout713.xml"/><Relationship Id="rId170" Type="http://schemas.openxmlformats.org/officeDocument/2006/relationships/slideLayout" Target="../slideLayouts/slideLayout724.xml"/><Relationship Id="rId107" Type="http://schemas.openxmlformats.org/officeDocument/2006/relationships/slideLayout" Target="../slideLayouts/slideLayout661.xml"/><Relationship Id="rId11" Type="http://schemas.openxmlformats.org/officeDocument/2006/relationships/slideLayout" Target="../slideLayouts/slideLayout565.xml"/><Relationship Id="rId32" Type="http://schemas.openxmlformats.org/officeDocument/2006/relationships/slideLayout" Target="../slideLayouts/slideLayout586.xml"/><Relationship Id="rId53" Type="http://schemas.openxmlformats.org/officeDocument/2006/relationships/slideLayout" Target="../slideLayouts/slideLayout607.xml"/><Relationship Id="rId74" Type="http://schemas.openxmlformats.org/officeDocument/2006/relationships/slideLayout" Target="../slideLayouts/slideLayout628.xml"/><Relationship Id="rId128" Type="http://schemas.openxmlformats.org/officeDocument/2006/relationships/slideLayout" Target="../slideLayouts/slideLayout682.xml"/><Relationship Id="rId149" Type="http://schemas.openxmlformats.org/officeDocument/2006/relationships/slideLayout" Target="../slideLayouts/slideLayout703.xml"/><Relationship Id="rId5" Type="http://schemas.openxmlformats.org/officeDocument/2006/relationships/slideLayout" Target="../slideLayouts/slideLayout559.xml"/><Relationship Id="rId95" Type="http://schemas.openxmlformats.org/officeDocument/2006/relationships/slideLayout" Target="../slideLayouts/slideLayout649.xml"/><Relationship Id="rId160" Type="http://schemas.openxmlformats.org/officeDocument/2006/relationships/slideLayout" Target="../slideLayouts/slideLayout714.xml"/><Relationship Id="rId22" Type="http://schemas.openxmlformats.org/officeDocument/2006/relationships/slideLayout" Target="../slideLayouts/slideLayout576.xml"/><Relationship Id="rId43" Type="http://schemas.openxmlformats.org/officeDocument/2006/relationships/slideLayout" Target="../slideLayouts/slideLayout597.xml"/><Relationship Id="rId64" Type="http://schemas.openxmlformats.org/officeDocument/2006/relationships/slideLayout" Target="../slideLayouts/slideLayout618.xml"/><Relationship Id="rId118" Type="http://schemas.openxmlformats.org/officeDocument/2006/relationships/slideLayout" Target="../slideLayouts/slideLayout672.xml"/><Relationship Id="rId139" Type="http://schemas.openxmlformats.org/officeDocument/2006/relationships/slideLayout" Target="../slideLayouts/slideLayout693.xml"/><Relationship Id="rId85" Type="http://schemas.openxmlformats.org/officeDocument/2006/relationships/slideLayout" Target="../slideLayouts/slideLayout639.xml"/><Relationship Id="rId150" Type="http://schemas.openxmlformats.org/officeDocument/2006/relationships/slideLayout" Target="../slideLayouts/slideLayout704.xml"/><Relationship Id="rId171" Type="http://schemas.openxmlformats.org/officeDocument/2006/relationships/slideLayout" Target="../slideLayouts/slideLayout725.xml"/><Relationship Id="rId12" Type="http://schemas.openxmlformats.org/officeDocument/2006/relationships/slideLayout" Target="../slideLayouts/slideLayout566.xml"/><Relationship Id="rId33" Type="http://schemas.openxmlformats.org/officeDocument/2006/relationships/slideLayout" Target="../slideLayouts/slideLayout587.xml"/><Relationship Id="rId108" Type="http://schemas.openxmlformats.org/officeDocument/2006/relationships/slideLayout" Target="../slideLayouts/slideLayout662.xml"/><Relationship Id="rId129" Type="http://schemas.openxmlformats.org/officeDocument/2006/relationships/slideLayout" Target="../slideLayouts/slideLayout683.xml"/><Relationship Id="rId54" Type="http://schemas.openxmlformats.org/officeDocument/2006/relationships/slideLayout" Target="../slideLayouts/slideLayout608.xml"/><Relationship Id="rId75" Type="http://schemas.openxmlformats.org/officeDocument/2006/relationships/slideLayout" Target="../slideLayouts/slideLayout629.xml"/><Relationship Id="rId96" Type="http://schemas.openxmlformats.org/officeDocument/2006/relationships/slideLayout" Target="../slideLayouts/slideLayout650.xml"/><Relationship Id="rId140" Type="http://schemas.openxmlformats.org/officeDocument/2006/relationships/slideLayout" Target="../slideLayouts/slideLayout694.xml"/><Relationship Id="rId161" Type="http://schemas.openxmlformats.org/officeDocument/2006/relationships/slideLayout" Target="../slideLayouts/slideLayout715.xml"/><Relationship Id="rId6" Type="http://schemas.openxmlformats.org/officeDocument/2006/relationships/slideLayout" Target="../slideLayouts/slideLayout560.xml"/><Relationship Id="rId23" Type="http://schemas.openxmlformats.org/officeDocument/2006/relationships/slideLayout" Target="../slideLayouts/slideLayout577.xml"/><Relationship Id="rId28" Type="http://schemas.openxmlformats.org/officeDocument/2006/relationships/slideLayout" Target="../slideLayouts/slideLayout582.xml"/><Relationship Id="rId49" Type="http://schemas.openxmlformats.org/officeDocument/2006/relationships/slideLayout" Target="../slideLayouts/slideLayout603.xml"/><Relationship Id="rId114" Type="http://schemas.openxmlformats.org/officeDocument/2006/relationships/slideLayout" Target="../slideLayouts/slideLayout668.xml"/><Relationship Id="rId119" Type="http://schemas.openxmlformats.org/officeDocument/2006/relationships/slideLayout" Target="../slideLayouts/slideLayout673.xml"/><Relationship Id="rId44" Type="http://schemas.openxmlformats.org/officeDocument/2006/relationships/slideLayout" Target="../slideLayouts/slideLayout598.xml"/><Relationship Id="rId60" Type="http://schemas.openxmlformats.org/officeDocument/2006/relationships/slideLayout" Target="../slideLayouts/slideLayout614.xml"/><Relationship Id="rId65" Type="http://schemas.openxmlformats.org/officeDocument/2006/relationships/slideLayout" Target="../slideLayouts/slideLayout619.xml"/><Relationship Id="rId81" Type="http://schemas.openxmlformats.org/officeDocument/2006/relationships/slideLayout" Target="../slideLayouts/slideLayout635.xml"/><Relationship Id="rId86" Type="http://schemas.openxmlformats.org/officeDocument/2006/relationships/slideLayout" Target="../slideLayouts/slideLayout640.xml"/><Relationship Id="rId130" Type="http://schemas.openxmlformats.org/officeDocument/2006/relationships/slideLayout" Target="../slideLayouts/slideLayout684.xml"/><Relationship Id="rId135" Type="http://schemas.openxmlformats.org/officeDocument/2006/relationships/slideLayout" Target="../slideLayouts/slideLayout689.xml"/><Relationship Id="rId151" Type="http://schemas.openxmlformats.org/officeDocument/2006/relationships/slideLayout" Target="../slideLayouts/slideLayout705.xml"/><Relationship Id="rId156" Type="http://schemas.openxmlformats.org/officeDocument/2006/relationships/slideLayout" Target="../slideLayouts/slideLayout710.xml"/><Relationship Id="rId177" Type="http://schemas.openxmlformats.org/officeDocument/2006/relationships/tags" Target="../tags/tag675.xml"/><Relationship Id="rId172" Type="http://schemas.openxmlformats.org/officeDocument/2006/relationships/slideLayout" Target="../slideLayouts/slideLayout726.xml"/><Relationship Id="rId13" Type="http://schemas.openxmlformats.org/officeDocument/2006/relationships/slideLayout" Target="../slideLayouts/slideLayout567.xml"/><Relationship Id="rId18" Type="http://schemas.openxmlformats.org/officeDocument/2006/relationships/slideLayout" Target="../slideLayouts/slideLayout572.xml"/><Relationship Id="rId39" Type="http://schemas.openxmlformats.org/officeDocument/2006/relationships/slideLayout" Target="../slideLayouts/slideLayout593.xml"/><Relationship Id="rId109" Type="http://schemas.openxmlformats.org/officeDocument/2006/relationships/slideLayout" Target="../slideLayouts/slideLayout663.xml"/><Relationship Id="rId34" Type="http://schemas.openxmlformats.org/officeDocument/2006/relationships/slideLayout" Target="../slideLayouts/slideLayout588.xml"/><Relationship Id="rId50" Type="http://schemas.openxmlformats.org/officeDocument/2006/relationships/slideLayout" Target="../slideLayouts/slideLayout604.xml"/><Relationship Id="rId55" Type="http://schemas.openxmlformats.org/officeDocument/2006/relationships/slideLayout" Target="../slideLayouts/slideLayout609.xml"/><Relationship Id="rId76" Type="http://schemas.openxmlformats.org/officeDocument/2006/relationships/slideLayout" Target="../slideLayouts/slideLayout630.xml"/><Relationship Id="rId97" Type="http://schemas.openxmlformats.org/officeDocument/2006/relationships/slideLayout" Target="../slideLayouts/slideLayout651.xml"/><Relationship Id="rId104" Type="http://schemas.openxmlformats.org/officeDocument/2006/relationships/slideLayout" Target="../slideLayouts/slideLayout658.xml"/><Relationship Id="rId120" Type="http://schemas.openxmlformats.org/officeDocument/2006/relationships/slideLayout" Target="../slideLayouts/slideLayout674.xml"/><Relationship Id="rId125" Type="http://schemas.openxmlformats.org/officeDocument/2006/relationships/slideLayout" Target="../slideLayouts/slideLayout679.xml"/><Relationship Id="rId141" Type="http://schemas.openxmlformats.org/officeDocument/2006/relationships/slideLayout" Target="../slideLayouts/slideLayout695.xml"/><Relationship Id="rId146" Type="http://schemas.openxmlformats.org/officeDocument/2006/relationships/slideLayout" Target="../slideLayouts/slideLayout700.xml"/><Relationship Id="rId167" Type="http://schemas.openxmlformats.org/officeDocument/2006/relationships/slideLayout" Target="../slideLayouts/slideLayout721.xml"/><Relationship Id="rId7" Type="http://schemas.openxmlformats.org/officeDocument/2006/relationships/slideLayout" Target="../slideLayouts/slideLayout561.xml"/><Relationship Id="rId71" Type="http://schemas.openxmlformats.org/officeDocument/2006/relationships/slideLayout" Target="../slideLayouts/slideLayout625.xml"/><Relationship Id="rId92" Type="http://schemas.openxmlformats.org/officeDocument/2006/relationships/slideLayout" Target="../slideLayouts/slideLayout646.xml"/><Relationship Id="rId162" Type="http://schemas.openxmlformats.org/officeDocument/2006/relationships/slideLayout" Target="../slideLayouts/slideLayout716.xml"/><Relationship Id="rId2" Type="http://schemas.openxmlformats.org/officeDocument/2006/relationships/slideLayout" Target="../slideLayouts/slideLayout556.xml"/><Relationship Id="rId29" Type="http://schemas.openxmlformats.org/officeDocument/2006/relationships/slideLayout" Target="../slideLayouts/slideLayout583.xml"/><Relationship Id="rId24" Type="http://schemas.openxmlformats.org/officeDocument/2006/relationships/slideLayout" Target="../slideLayouts/slideLayout578.xml"/><Relationship Id="rId40" Type="http://schemas.openxmlformats.org/officeDocument/2006/relationships/slideLayout" Target="../slideLayouts/slideLayout594.xml"/><Relationship Id="rId45" Type="http://schemas.openxmlformats.org/officeDocument/2006/relationships/slideLayout" Target="../slideLayouts/slideLayout599.xml"/><Relationship Id="rId66" Type="http://schemas.openxmlformats.org/officeDocument/2006/relationships/slideLayout" Target="../slideLayouts/slideLayout620.xml"/><Relationship Id="rId87" Type="http://schemas.openxmlformats.org/officeDocument/2006/relationships/slideLayout" Target="../slideLayouts/slideLayout641.xml"/><Relationship Id="rId110" Type="http://schemas.openxmlformats.org/officeDocument/2006/relationships/slideLayout" Target="../slideLayouts/slideLayout664.xml"/><Relationship Id="rId115" Type="http://schemas.openxmlformats.org/officeDocument/2006/relationships/slideLayout" Target="../slideLayouts/slideLayout669.xml"/><Relationship Id="rId131" Type="http://schemas.openxmlformats.org/officeDocument/2006/relationships/slideLayout" Target="../slideLayouts/slideLayout685.xml"/><Relationship Id="rId136" Type="http://schemas.openxmlformats.org/officeDocument/2006/relationships/slideLayout" Target="../slideLayouts/slideLayout690.xml"/><Relationship Id="rId157" Type="http://schemas.openxmlformats.org/officeDocument/2006/relationships/slideLayout" Target="../slideLayouts/slideLayout711.xml"/><Relationship Id="rId178" Type="http://schemas.openxmlformats.org/officeDocument/2006/relationships/oleObject" Target="../embeddings/oleObject162.bin"/><Relationship Id="rId61" Type="http://schemas.openxmlformats.org/officeDocument/2006/relationships/slideLayout" Target="../slideLayouts/slideLayout615.xml"/><Relationship Id="rId82" Type="http://schemas.openxmlformats.org/officeDocument/2006/relationships/slideLayout" Target="../slideLayouts/slideLayout636.xml"/><Relationship Id="rId152" Type="http://schemas.openxmlformats.org/officeDocument/2006/relationships/slideLayout" Target="../slideLayouts/slideLayout706.xml"/><Relationship Id="rId173" Type="http://schemas.openxmlformats.org/officeDocument/2006/relationships/slideLayout" Target="../slideLayouts/slideLayout727.xml"/><Relationship Id="rId19" Type="http://schemas.openxmlformats.org/officeDocument/2006/relationships/slideLayout" Target="../slideLayouts/slideLayout573.xml"/><Relationship Id="rId14" Type="http://schemas.openxmlformats.org/officeDocument/2006/relationships/slideLayout" Target="../slideLayouts/slideLayout568.xml"/><Relationship Id="rId30" Type="http://schemas.openxmlformats.org/officeDocument/2006/relationships/slideLayout" Target="../slideLayouts/slideLayout584.xml"/><Relationship Id="rId35" Type="http://schemas.openxmlformats.org/officeDocument/2006/relationships/slideLayout" Target="../slideLayouts/slideLayout589.xml"/><Relationship Id="rId56" Type="http://schemas.openxmlformats.org/officeDocument/2006/relationships/slideLayout" Target="../slideLayouts/slideLayout610.xml"/><Relationship Id="rId77" Type="http://schemas.openxmlformats.org/officeDocument/2006/relationships/slideLayout" Target="../slideLayouts/slideLayout631.xml"/><Relationship Id="rId100" Type="http://schemas.openxmlformats.org/officeDocument/2006/relationships/slideLayout" Target="../slideLayouts/slideLayout654.xml"/><Relationship Id="rId105" Type="http://schemas.openxmlformats.org/officeDocument/2006/relationships/slideLayout" Target="../slideLayouts/slideLayout659.xml"/><Relationship Id="rId126" Type="http://schemas.openxmlformats.org/officeDocument/2006/relationships/slideLayout" Target="../slideLayouts/slideLayout680.xml"/><Relationship Id="rId147" Type="http://schemas.openxmlformats.org/officeDocument/2006/relationships/slideLayout" Target="../slideLayouts/slideLayout701.xml"/><Relationship Id="rId168" Type="http://schemas.openxmlformats.org/officeDocument/2006/relationships/slideLayout" Target="../slideLayouts/slideLayout722.xml"/><Relationship Id="rId8" Type="http://schemas.openxmlformats.org/officeDocument/2006/relationships/slideLayout" Target="../slideLayouts/slideLayout562.xml"/><Relationship Id="rId51" Type="http://schemas.openxmlformats.org/officeDocument/2006/relationships/slideLayout" Target="../slideLayouts/slideLayout605.xml"/><Relationship Id="rId72" Type="http://schemas.openxmlformats.org/officeDocument/2006/relationships/slideLayout" Target="../slideLayouts/slideLayout626.xml"/><Relationship Id="rId93" Type="http://schemas.openxmlformats.org/officeDocument/2006/relationships/slideLayout" Target="../slideLayouts/slideLayout647.xml"/><Relationship Id="rId98" Type="http://schemas.openxmlformats.org/officeDocument/2006/relationships/slideLayout" Target="../slideLayouts/slideLayout652.xml"/><Relationship Id="rId121" Type="http://schemas.openxmlformats.org/officeDocument/2006/relationships/slideLayout" Target="../slideLayouts/slideLayout675.xml"/><Relationship Id="rId142" Type="http://schemas.openxmlformats.org/officeDocument/2006/relationships/slideLayout" Target="../slideLayouts/slideLayout696.xml"/><Relationship Id="rId163" Type="http://schemas.openxmlformats.org/officeDocument/2006/relationships/slideLayout" Target="../slideLayouts/slideLayout717.xml"/><Relationship Id="rId3" Type="http://schemas.openxmlformats.org/officeDocument/2006/relationships/slideLayout" Target="../slideLayouts/slideLayout557.xml"/><Relationship Id="rId25" Type="http://schemas.openxmlformats.org/officeDocument/2006/relationships/slideLayout" Target="../slideLayouts/slideLayout579.xml"/><Relationship Id="rId46" Type="http://schemas.openxmlformats.org/officeDocument/2006/relationships/slideLayout" Target="../slideLayouts/slideLayout600.xml"/><Relationship Id="rId67" Type="http://schemas.openxmlformats.org/officeDocument/2006/relationships/slideLayout" Target="../slideLayouts/slideLayout621.xml"/><Relationship Id="rId116" Type="http://schemas.openxmlformats.org/officeDocument/2006/relationships/slideLayout" Target="../slideLayouts/slideLayout670.xml"/><Relationship Id="rId137" Type="http://schemas.openxmlformats.org/officeDocument/2006/relationships/slideLayout" Target="../slideLayouts/slideLayout691.xml"/><Relationship Id="rId158" Type="http://schemas.openxmlformats.org/officeDocument/2006/relationships/slideLayout" Target="../slideLayouts/slideLayout712.xml"/><Relationship Id="rId20" Type="http://schemas.openxmlformats.org/officeDocument/2006/relationships/slideLayout" Target="../slideLayouts/slideLayout574.xml"/><Relationship Id="rId41" Type="http://schemas.openxmlformats.org/officeDocument/2006/relationships/slideLayout" Target="../slideLayouts/slideLayout595.xml"/><Relationship Id="rId62" Type="http://schemas.openxmlformats.org/officeDocument/2006/relationships/slideLayout" Target="../slideLayouts/slideLayout616.xml"/><Relationship Id="rId83" Type="http://schemas.openxmlformats.org/officeDocument/2006/relationships/slideLayout" Target="../slideLayouts/slideLayout637.xml"/><Relationship Id="rId88" Type="http://schemas.openxmlformats.org/officeDocument/2006/relationships/slideLayout" Target="../slideLayouts/slideLayout642.xml"/><Relationship Id="rId111" Type="http://schemas.openxmlformats.org/officeDocument/2006/relationships/slideLayout" Target="../slideLayouts/slideLayout665.xml"/><Relationship Id="rId132" Type="http://schemas.openxmlformats.org/officeDocument/2006/relationships/slideLayout" Target="../slideLayouts/slideLayout686.xml"/><Relationship Id="rId153" Type="http://schemas.openxmlformats.org/officeDocument/2006/relationships/slideLayout" Target="../slideLayouts/slideLayout707.xml"/><Relationship Id="rId174" Type="http://schemas.openxmlformats.org/officeDocument/2006/relationships/slideLayout" Target="../slideLayouts/slideLayout728.xml"/><Relationship Id="rId179" Type="http://schemas.openxmlformats.org/officeDocument/2006/relationships/image" Target="../media/image36.emf"/><Relationship Id="rId15" Type="http://schemas.openxmlformats.org/officeDocument/2006/relationships/slideLayout" Target="../slideLayouts/slideLayout569.xml"/><Relationship Id="rId36" Type="http://schemas.openxmlformats.org/officeDocument/2006/relationships/slideLayout" Target="../slideLayouts/slideLayout590.xml"/><Relationship Id="rId57" Type="http://schemas.openxmlformats.org/officeDocument/2006/relationships/slideLayout" Target="../slideLayouts/slideLayout611.xml"/><Relationship Id="rId106" Type="http://schemas.openxmlformats.org/officeDocument/2006/relationships/slideLayout" Target="../slideLayouts/slideLayout660.xml"/><Relationship Id="rId127" Type="http://schemas.openxmlformats.org/officeDocument/2006/relationships/slideLayout" Target="../slideLayouts/slideLayout681.xml"/><Relationship Id="rId10" Type="http://schemas.openxmlformats.org/officeDocument/2006/relationships/slideLayout" Target="../slideLayouts/slideLayout564.xml"/><Relationship Id="rId31" Type="http://schemas.openxmlformats.org/officeDocument/2006/relationships/slideLayout" Target="../slideLayouts/slideLayout585.xml"/><Relationship Id="rId52" Type="http://schemas.openxmlformats.org/officeDocument/2006/relationships/slideLayout" Target="../slideLayouts/slideLayout606.xml"/><Relationship Id="rId73" Type="http://schemas.openxmlformats.org/officeDocument/2006/relationships/slideLayout" Target="../slideLayouts/slideLayout627.xml"/><Relationship Id="rId78" Type="http://schemas.openxmlformats.org/officeDocument/2006/relationships/slideLayout" Target="../slideLayouts/slideLayout632.xml"/><Relationship Id="rId94" Type="http://schemas.openxmlformats.org/officeDocument/2006/relationships/slideLayout" Target="../slideLayouts/slideLayout648.xml"/><Relationship Id="rId99" Type="http://schemas.openxmlformats.org/officeDocument/2006/relationships/slideLayout" Target="../slideLayouts/slideLayout653.xml"/><Relationship Id="rId101" Type="http://schemas.openxmlformats.org/officeDocument/2006/relationships/slideLayout" Target="../slideLayouts/slideLayout655.xml"/><Relationship Id="rId122" Type="http://schemas.openxmlformats.org/officeDocument/2006/relationships/slideLayout" Target="../slideLayouts/slideLayout676.xml"/><Relationship Id="rId143" Type="http://schemas.openxmlformats.org/officeDocument/2006/relationships/slideLayout" Target="../slideLayouts/slideLayout697.xml"/><Relationship Id="rId148" Type="http://schemas.openxmlformats.org/officeDocument/2006/relationships/slideLayout" Target="../slideLayouts/slideLayout702.xml"/><Relationship Id="rId164" Type="http://schemas.openxmlformats.org/officeDocument/2006/relationships/slideLayout" Target="../slideLayouts/slideLayout718.xml"/><Relationship Id="rId169" Type="http://schemas.openxmlformats.org/officeDocument/2006/relationships/slideLayout" Target="../slideLayouts/slideLayout723.xml"/><Relationship Id="rId4" Type="http://schemas.openxmlformats.org/officeDocument/2006/relationships/slideLayout" Target="../slideLayouts/slideLayout558.xml"/><Relationship Id="rId9" Type="http://schemas.openxmlformats.org/officeDocument/2006/relationships/slideLayout" Target="../slideLayouts/slideLayout563.xml"/><Relationship Id="rId180" Type="http://schemas.openxmlformats.org/officeDocument/2006/relationships/image" Target="../media/image2.png"/><Relationship Id="rId26" Type="http://schemas.openxmlformats.org/officeDocument/2006/relationships/slideLayout" Target="../slideLayouts/slideLayout580.xml"/><Relationship Id="rId47" Type="http://schemas.openxmlformats.org/officeDocument/2006/relationships/slideLayout" Target="../slideLayouts/slideLayout601.xml"/><Relationship Id="rId68" Type="http://schemas.openxmlformats.org/officeDocument/2006/relationships/slideLayout" Target="../slideLayouts/slideLayout622.xml"/><Relationship Id="rId89" Type="http://schemas.openxmlformats.org/officeDocument/2006/relationships/slideLayout" Target="../slideLayouts/slideLayout643.xml"/><Relationship Id="rId112" Type="http://schemas.openxmlformats.org/officeDocument/2006/relationships/slideLayout" Target="../slideLayouts/slideLayout666.xml"/><Relationship Id="rId133" Type="http://schemas.openxmlformats.org/officeDocument/2006/relationships/slideLayout" Target="../slideLayouts/slideLayout687.xml"/><Relationship Id="rId154" Type="http://schemas.openxmlformats.org/officeDocument/2006/relationships/slideLayout" Target="../slideLayouts/slideLayout708.xml"/><Relationship Id="rId175" Type="http://schemas.openxmlformats.org/officeDocument/2006/relationships/slideLayout" Target="../slideLayouts/slideLayout729.xml"/><Relationship Id="rId16" Type="http://schemas.openxmlformats.org/officeDocument/2006/relationships/slideLayout" Target="../slideLayouts/slideLayout570.xml"/><Relationship Id="rId37" Type="http://schemas.openxmlformats.org/officeDocument/2006/relationships/slideLayout" Target="../slideLayouts/slideLayout591.xml"/><Relationship Id="rId58" Type="http://schemas.openxmlformats.org/officeDocument/2006/relationships/slideLayout" Target="../slideLayouts/slideLayout612.xml"/><Relationship Id="rId79" Type="http://schemas.openxmlformats.org/officeDocument/2006/relationships/slideLayout" Target="../slideLayouts/slideLayout633.xml"/><Relationship Id="rId102" Type="http://schemas.openxmlformats.org/officeDocument/2006/relationships/slideLayout" Target="../slideLayouts/slideLayout656.xml"/><Relationship Id="rId123" Type="http://schemas.openxmlformats.org/officeDocument/2006/relationships/slideLayout" Target="../slideLayouts/slideLayout677.xml"/><Relationship Id="rId144" Type="http://schemas.openxmlformats.org/officeDocument/2006/relationships/slideLayout" Target="../slideLayouts/slideLayout698.xml"/><Relationship Id="rId90" Type="http://schemas.openxmlformats.org/officeDocument/2006/relationships/slideLayout" Target="../slideLayouts/slideLayout644.xml"/><Relationship Id="rId165" Type="http://schemas.openxmlformats.org/officeDocument/2006/relationships/slideLayout" Target="../slideLayouts/slideLayout719.xml"/><Relationship Id="rId27" Type="http://schemas.openxmlformats.org/officeDocument/2006/relationships/slideLayout" Target="../slideLayouts/slideLayout581.xml"/><Relationship Id="rId48" Type="http://schemas.openxmlformats.org/officeDocument/2006/relationships/slideLayout" Target="../slideLayouts/slideLayout602.xml"/><Relationship Id="rId69" Type="http://schemas.openxmlformats.org/officeDocument/2006/relationships/slideLayout" Target="../slideLayouts/slideLayout623.xml"/><Relationship Id="rId113" Type="http://schemas.openxmlformats.org/officeDocument/2006/relationships/slideLayout" Target="../slideLayouts/slideLayout667.xml"/><Relationship Id="rId134" Type="http://schemas.openxmlformats.org/officeDocument/2006/relationships/slideLayout" Target="../slideLayouts/slideLayout688.xml"/><Relationship Id="rId80" Type="http://schemas.openxmlformats.org/officeDocument/2006/relationships/slideLayout" Target="../slideLayouts/slideLayout634.xml"/><Relationship Id="rId155" Type="http://schemas.openxmlformats.org/officeDocument/2006/relationships/slideLayout" Target="../slideLayouts/slideLayout709.xml"/><Relationship Id="rId176" Type="http://schemas.openxmlformats.org/officeDocument/2006/relationships/theme" Target="../theme/theme4.xml"/><Relationship Id="rId17" Type="http://schemas.openxmlformats.org/officeDocument/2006/relationships/slideLayout" Target="../slideLayouts/slideLayout571.xml"/><Relationship Id="rId38" Type="http://schemas.openxmlformats.org/officeDocument/2006/relationships/slideLayout" Target="../slideLayouts/slideLayout592.xml"/><Relationship Id="rId59" Type="http://schemas.openxmlformats.org/officeDocument/2006/relationships/slideLayout" Target="../slideLayouts/slideLayout613.xml"/><Relationship Id="rId103" Type="http://schemas.openxmlformats.org/officeDocument/2006/relationships/slideLayout" Target="../slideLayouts/slideLayout657.xml"/><Relationship Id="rId124" Type="http://schemas.openxmlformats.org/officeDocument/2006/relationships/slideLayout" Target="../slideLayouts/slideLayout678.xml"/><Relationship Id="rId70" Type="http://schemas.openxmlformats.org/officeDocument/2006/relationships/slideLayout" Target="../slideLayouts/slideLayout624.xml"/><Relationship Id="rId91" Type="http://schemas.openxmlformats.org/officeDocument/2006/relationships/slideLayout" Target="../slideLayouts/slideLayout645.xml"/><Relationship Id="rId145" Type="http://schemas.openxmlformats.org/officeDocument/2006/relationships/slideLayout" Target="../slideLayouts/slideLayout699.xml"/><Relationship Id="rId166" Type="http://schemas.openxmlformats.org/officeDocument/2006/relationships/slideLayout" Target="../slideLayouts/slideLayout720.xml"/><Relationship Id="rId1" Type="http://schemas.openxmlformats.org/officeDocument/2006/relationships/slideLayout" Target="../slideLayouts/slideLayout55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732.xml"/><Relationship Id="rId7" Type="http://schemas.openxmlformats.org/officeDocument/2006/relationships/image" Target="../media/image36.emf"/><Relationship Id="rId2" Type="http://schemas.openxmlformats.org/officeDocument/2006/relationships/slideLayout" Target="../slideLayouts/slideLayout731.xml"/><Relationship Id="rId1" Type="http://schemas.openxmlformats.org/officeDocument/2006/relationships/slideLayout" Target="../slideLayouts/slideLayout730.xml"/><Relationship Id="rId6" Type="http://schemas.openxmlformats.org/officeDocument/2006/relationships/oleObject" Target="../embeddings/oleObject162.bin"/><Relationship Id="rId5" Type="http://schemas.openxmlformats.org/officeDocument/2006/relationships/tags" Target="../tags/tag815.xml"/><Relationship Id="rId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2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1" imgW="270" imgH="270" progId="TCLayout.ActiveDocument.1">
                  <p:embed/>
                </p:oleObj>
              </mc:Choice>
              <mc:Fallback>
                <p:oleObj name="think-cell Slide" r:id="rId22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2000250" y="622800"/>
            <a:ext cx="956310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2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730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6" r:id="rId1"/>
    <p:sldLayoutId id="2147485746" r:id="rId2"/>
    <p:sldLayoutId id="2147485747" r:id="rId3"/>
    <p:sldLayoutId id="2147485748" r:id="rId4"/>
    <p:sldLayoutId id="2147485749" r:id="rId5"/>
    <p:sldLayoutId id="2147485750" r:id="rId6"/>
    <p:sldLayoutId id="2147485254" r:id="rId7"/>
    <p:sldLayoutId id="2147485187" r:id="rId8"/>
    <p:sldLayoutId id="2147485188" r:id="rId9"/>
    <p:sldLayoutId id="2147485189" r:id="rId10"/>
    <p:sldLayoutId id="2147485190" r:id="rId11"/>
    <p:sldLayoutId id="2147485191" r:id="rId12"/>
    <p:sldLayoutId id="2147485751" r:id="rId13"/>
    <p:sldLayoutId id="2147485752" r:id="rId14"/>
    <p:sldLayoutId id="2147485753" r:id="rId15"/>
    <p:sldLayoutId id="2147485754" r:id="rId16"/>
    <p:sldLayoutId id="2147485755" r:id="rId17"/>
    <p:sldLayoutId id="2147485756" r:id="rId18"/>
    <p:sldLayoutId id="2147485757" r:id="rId19"/>
    <p:sldLayoutId id="2147485758" r:id="rId20"/>
    <p:sldLayoutId id="2147485759" r:id="rId21"/>
    <p:sldLayoutId id="2147485760" r:id="rId22"/>
    <p:sldLayoutId id="2147485761" r:id="rId23"/>
    <p:sldLayoutId id="2147485762" r:id="rId24"/>
    <p:sldLayoutId id="2147485763" r:id="rId25"/>
    <p:sldLayoutId id="2147485764" r:id="rId26"/>
    <p:sldLayoutId id="2147485765" r:id="rId27"/>
    <p:sldLayoutId id="2147485192" r:id="rId28"/>
    <p:sldLayoutId id="2147485193" r:id="rId29"/>
    <p:sldLayoutId id="2147485195" r:id="rId30"/>
    <p:sldLayoutId id="2147485196" r:id="rId31"/>
    <p:sldLayoutId id="2147485197" r:id="rId32"/>
    <p:sldLayoutId id="2147485198" r:id="rId33"/>
    <p:sldLayoutId id="2147485199" r:id="rId34"/>
    <p:sldLayoutId id="2147485200" r:id="rId35"/>
    <p:sldLayoutId id="2147485201" r:id="rId36"/>
    <p:sldLayoutId id="2147485202" r:id="rId37"/>
    <p:sldLayoutId id="2147485203" r:id="rId38"/>
    <p:sldLayoutId id="2147485204" r:id="rId39"/>
    <p:sldLayoutId id="2147485205" r:id="rId40"/>
    <p:sldLayoutId id="2147485207" r:id="rId41"/>
    <p:sldLayoutId id="2147485766" r:id="rId42"/>
    <p:sldLayoutId id="2147485767" r:id="rId43"/>
    <p:sldLayoutId id="2147485768" r:id="rId44"/>
    <p:sldLayoutId id="2147485769" r:id="rId45"/>
    <p:sldLayoutId id="2147485208" r:id="rId46"/>
    <p:sldLayoutId id="2147485211" r:id="rId47"/>
    <p:sldLayoutId id="2147485212" r:id="rId48"/>
    <p:sldLayoutId id="2147485213" r:id="rId49"/>
    <p:sldLayoutId id="2147485214" r:id="rId50"/>
    <p:sldLayoutId id="2147485770" r:id="rId51"/>
    <p:sldLayoutId id="2147485771" r:id="rId52"/>
    <p:sldLayoutId id="2147485772" r:id="rId53"/>
    <p:sldLayoutId id="2147485773" r:id="rId54"/>
    <p:sldLayoutId id="2147485216" r:id="rId55"/>
    <p:sldLayoutId id="2147485219" r:id="rId56"/>
    <p:sldLayoutId id="2147485774" r:id="rId57"/>
    <p:sldLayoutId id="2147485775" r:id="rId58"/>
    <p:sldLayoutId id="2147485776" r:id="rId59"/>
    <p:sldLayoutId id="2147485777" r:id="rId60"/>
    <p:sldLayoutId id="2147485778" r:id="rId61"/>
    <p:sldLayoutId id="2147485779" r:id="rId62"/>
    <p:sldLayoutId id="2147485780" r:id="rId63"/>
    <p:sldLayoutId id="2147485781" r:id="rId64"/>
    <p:sldLayoutId id="2147485782" r:id="rId65"/>
    <p:sldLayoutId id="2147485783" r:id="rId66"/>
    <p:sldLayoutId id="2147485784" r:id="rId67"/>
    <p:sldLayoutId id="2147485785" r:id="rId68"/>
    <p:sldLayoutId id="2147485786" r:id="rId69"/>
    <p:sldLayoutId id="2147485787" r:id="rId70"/>
    <p:sldLayoutId id="2147485788" r:id="rId71"/>
    <p:sldLayoutId id="2147485789" r:id="rId72"/>
    <p:sldLayoutId id="2147485226" r:id="rId73"/>
    <p:sldLayoutId id="2147485229" r:id="rId74"/>
    <p:sldLayoutId id="2147485233" r:id="rId75"/>
    <p:sldLayoutId id="2147485234" r:id="rId76"/>
    <p:sldLayoutId id="2147485235" r:id="rId77"/>
    <p:sldLayoutId id="2147485236" r:id="rId78"/>
    <p:sldLayoutId id="2147485790" r:id="rId79"/>
    <p:sldLayoutId id="2147485791" r:id="rId80"/>
    <p:sldLayoutId id="2147485792" r:id="rId81"/>
    <p:sldLayoutId id="2147485793" r:id="rId82"/>
    <p:sldLayoutId id="2147485794" r:id="rId83"/>
    <p:sldLayoutId id="2147485242" r:id="rId84"/>
    <p:sldLayoutId id="2147485243" r:id="rId85"/>
    <p:sldLayoutId id="2147485795" r:id="rId86"/>
    <p:sldLayoutId id="2147485796" r:id="rId87"/>
    <p:sldLayoutId id="2147485797" r:id="rId88"/>
    <p:sldLayoutId id="2147485798" r:id="rId89"/>
    <p:sldLayoutId id="2147485799" r:id="rId90"/>
    <p:sldLayoutId id="2147485800" r:id="rId91"/>
    <p:sldLayoutId id="2147485801" r:id="rId92"/>
    <p:sldLayoutId id="2147485802" r:id="rId93"/>
    <p:sldLayoutId id="2147485803" r:id="rId94"/>
    <p:sldLayoutId id="2147485804" r:id="rId95"/>
    <p:sldLayoutId id="2147486110" r:id="rId96"/>
    <p:sldLayoutId id="2147486694" r:id="rId97"/>
    <p:sldLayoutId id="2147486696" r:id="rId98"/>
    <p:sldLayoutId id="2147486697" r:id="rId99"/>
    <p:sldLayoutId id="2147486698" r:id="rId100"/>
    <p:sldLayoutId id="2147486700" r:id="rId101"/>
    <p:sldLayoutId id="2147486704" r:id="rId102"/>
    <p:sldLayoutId id="2147486705" r:id="rId103"/>
    <p:sldLayoutId id="2147486708" r:id="rId104"/>
    <p:sldLayoutId id="2147486709" r:id="rId105"/>
    <p:sldLayoutId id="2147486710" r:id="rId106"/>
    <p:sldLayoutId id="2147486712" r:id="rId107"/>
    <p:sldLayoutId id="2147486714" r:id="rId108"/>
    <p:sldLayoutId id="2147486715" r:id="rId109"/>
    <p:sldLayoutId id="2147486716" r:id="rId110"/>
    <p:sldLayoutId id="2147486717" r:id="rId111"/>
    <p:sldLayoutId id="2147486718" r:id="rId112"/>
    <p:sldLayoutId id="2147486719" r:id="rId113"/>
    <p:sldLayoutId id="2147486721" r:id="rId114"/>
    <p:sldLayoutId id="2147486725" r:id="rId115"/>
    <p:sldLayoutId id="2147486727" r:id="rId116"/>
    <p:sldLayoutId id="2147486734" r:id="rId117"/>
    <p:sldLayoutId id="2147486735" r:id="rId118"/>
    <p:sldLayoutId id="2147486740" r:id="rId119"/>
    <p:sldLayoutId id="2147486742" r:id="rId120"/>
    <p:sldLayoutId id="2147486743" r:id="rId121"/>
    <p:sldLayoutId id="2147486745" r:id="rId122"/>
    <p:sldLayoutId id="2147486766" r:id="rId123"/>
    <p:sldLayoutId id="2147486768" r:id="rId124"/>
    <p:sldLayoutId id="2147486769" r:id="rId125"/>
    <p:sldLayoutId id="2147486770" r:id="rId126"/>
    <p:sldLayoutId id="2147486771" r:id="rId127"/>
    <p:sldLayoutId id="2147486772" r:id="rId128"/>
    <p:sldLayoutId id="2147486773" r:id="rId129"/>
    <p:sldLayoutId id="2147486774" r:id="rId130"/>
    <p:sldLayoutId id="2147486775" r:id="rId131"/>
    <p:sldLayoutId id="2147486776" r:id="rId132"/>
    <p:sldLayoutId id="2147486777" r:id="rId133"/>
    <p:sldLayoutId id="2147486778" r:id="rId134"/>
    <p:sldLayoutId id="2147486779" r:id="rId135"/>
    <p:sldLayoutId id="2147486780" r:id="rId136"/>
    <p:sldLayoutId id="2147486781" r:id="rId137"/>
    <p:sldLayoutId id="2147486782" r:id="rId138"/>
    <p:sldLayoutId id="2147486783" r:id="rId139"/>
    <p:sldLayoutId id="2147486784" r:id="rId140"/>
    <p:sldLayoutId id="2147486785" r:id="rId141"/>
    <p:sldLayoutId id="2147486786" r:id="rId142"/>
    <p:sldLayoutId id="2147486787" r:id="rId143"/>
    <p:sldLayoutId id="2147486788" r:id="rId144"/>
    <p:sldLayoutId id="2147487284" r:id="rId145"/>
    <p:sldLayoutId id="2147487285" r:id="rId146"/>
    <p:sldLayoutId id="2147487286" r:id="rId147"/>
    <p:sldLayoutId id="2147487287" r:id="rId148"/>
    <p:sldLayoutId id="2147487288" r:id="rId149"/>
    <p:sldLayoutId id="2147487290" r:id="rId150"/>
    <p:sldLayoutId id="2147487291" r:id="rId151"/>
    <p:sldLayoutId id="2147487292" r:id="rId152"/>
    <p:sldLayoutId id="2147487293" r:id="rId153"/>
    <p:sldLayoutId id="2147487294" r:id="rId154"/>
    <p:sldLayoutId id="2147487295" r:id="rId155"/>
    <p:sldLayoutId id="2147487296" r:id="rId156"/>
    <p:sldLayoutId id="2147487297" r:id="rId157"/>
    <p:sldLayoutId id="2147487298" r:id="rId158"/>
    <p:sldLayoutId id="2147487299" r:id="rId159"/>
    <p:sldLayoutId id="2147487300" r:id="rId160"/>
    <p:sldLayoutId id="2147487301" r:id="rId161"/>
    <p:sldLayoutId id="2147487302" r:id="rId162"/>
    <p:sldLayoutId id="2147487303" r:id="rId163"/>
    <p:sldLayoutId id="2147487304" r:id="rId164"/>
    <p:sldLayoutId id="2147487305" r:id="rId165"/>
    <p:sldLayoutId id="2147487306" r:id="rId166"/>
    <p:sldLayoutId id="2147487307" r:id="rId167"/>
    <p:sldLayoutId id="2147487308" r:id="rId168"/>
    <p:sldLayoutId id="2147487309" r:id="rId169"/>
    <p:sldLayoutId id="2147487310" r:id="rId170"/>
    <p:sldLayoutId id="2147487311" r:id="rId171"/>
    <p:sldLayoutId id="2147487312" r:id="rId172"/>
    <p:sldLayoutId id="2147487313" r:id="rId173"/>
    <p:sldLayoutId id="2147487314" r:id="rId174"/>
    <p:sldLayoutId id="2147487315" r:id="rId175"/>
    <p:sldLayoutId id="2147487316" r:id="rId176"/>
    <p:sldLayoutId id="2147487317" r:id="rId177"/>
    <p:sldLayoutId id="2147487318" r:id="rId178"/>
    <p:sldLayoutId id="2147487319" r:id="rId179"/>
    <p:sldLayoutId id="2147487320" r:id="rId180"/>
    <p:sldLayoutId id="2147487321" r:id="rId181"/>
    <p:sldLayoutId id="2147487322" r:id="rId182"/>
    <p:sldLayoutId id="2147487323" r:id="rId183"/>
    <p:sldLayoutId id="2147487324" r:id="rId184"/>
    <p:sldLayoutId id="2147487325" r:id="rId185"/>
    <p:sldLayoutId id="2147487326" r:id="rId186"/>
    <p:sldLayoutId id="2147487327" r:id="rId187"/>
    <p:sldLayoutId id="2147487328" r:id="rId188"/>
    <p:sldLayoutId id="2147487329" r:id="rId189"/>
    <p:sldLayoutId id="2147487330" r:id="rId190"/>
    <p:sldLayoutId id="2147487331" r:id="rId191"/>
    <p:sldLayoutId id="2147487332" r:id="rId192"/>
    <p:sldLayoutId id="2147487333" r:id="rId193"/>
    <p:sldLayoutId id="2147487334" r:id="rId194"/>
    <p:sldLayoutId id="2147487335" r:id="rId195"/>
    <p:sldLayoutId id="2147487336" r:id="rId196"/>
    <p:sldLayoutId id="2147487337" r:id="rId197"/>
    <p:sldLayoutId id="2147487338" r:id="rId198"/>
    <p:sldLayoutId id="2147487339" r:id="rId199"/>
    <p:sldLayoutId id="2147487340" r:id="rId200"/>
    <p:sldLayoutId id="2147487341" r:id="rId201"/>
    <p:sldLayoutId id="2147487342" r:id="rId202"/>
    <p:sldLayoutId id="2147487343" r:id="rId203"/>
    <p:sldLayoutId id="2147487344" r:id="rId204"/>
    <p:sldLayoutId id="2147487345" r:id="rId205"/>
    <p:sldLayoutId id="2147487346" r:id="rId206"/>
    <p:sldLayoutId id="2147487347" r:id="rId207"/>
    <p:sldLayoutId id="2147487348" r:id="rId208"/>
    <p:sldLayoutId id="2147487349" r:id="rId209"/>
    <p:sldLayoutId id="2147487350" r:id="rId210"/>
    <p:sldLayoutId id="2147487351" r:id="rId211"/>
    <p:sldLayoutId id="2147487352" r:id="rId212"/>
    <p:sldLayoutId id="2147487353" r:id="rId213"/>
    <p:sldLayoutId id="2147487354" r:id="rId214"/>
    <p:sldLayoutId id="2147487355" r:id="rId215"/>
    <p:sldLayoutId id="2147487356" r:id="rId216"/>
    <p:sldLayoutId id="2147487357" r:id="rId217"/>
    <p:sldLayoutId id="2147487358" r:id="rId21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0000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8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8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8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0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9" imgW="270" imgH="270" progId="TCLayout.ActiveDocument.1">
                  <p:embed/>
                </p:oleObj>
              </mc:Choice>
              <mc:Fallback>
                <p:oleObj name="think-cell Slide" r:id="rId20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2000250" y="622800"/>
            <a:ext cx="956310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10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942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78" r:id="rId1"/>
    <p:sldLayoutId id="2147486479" r:id="rId2"/>
    <p:sldLayoutId id="2147486480" r:id="rId3"/>
    <p:sldLayoutId id="2147486481" r:id="rId4"/>
    <p:sldLayoutId id="2147486482" r:id="rId5"/>
    <p:sldLayoutId id="2147486483" r:id="rId6"/>
    <p:sldLayoutId id="2147486484" r:id="rId7"/>
    <p:sldLayoutId id="2147486485" r:id="rId8"/>
    <p:sldLayoutId id="2147486486" r:id="rId9"/>
    <p:sldLayoutId id="2147486487" r:id="rId10"/>
    <p:sldLayoutId id="2147486488" r:id="rId11"/>
    <p:sldLayoutId id="2147486489" r:id="rId12"/>
    <p:sldLayoutId id="2147486490" r:id="rId13"/>
    <p:sldLayoutId id="2147486491" r:id="rId14"/>
    <p:sldLayoutId id="2147486492" r:id="rId15"/>
    <p:sldLayoutId id="2147486493" r:id="rId16"/>
    <p:sldLayoutId id="2147486494" r:id="rId17"/>
    <p:sldLayoutId id="2147486495" r:id="rId18"/>
    <p:sldLayoutId id="2147486496" r:id="rId19"/>
    <p:sldLayoutId id="2147486497" r:id="rId20"/>
    <p:sldLayoutId id="2147486498" r:id="rId21"/>
    <p:sldLayoutId id="2147486499" r:id="rId22"/>
    <p:sldLayoutId id="2147486500" r:id="rId23"/>
    <p:sldLayoutId id="2147486501" r:id="rId24"/>
    <p:sldLayoutId id="2147486502" r:id="rId25"/>
    <p:sldLayoutId id="2147486503" r:id="rId26"/>
    <p:sldLayoutId id="2147486504" r:id="rId27"/>
    <p:sldLayoutId id="2147486505" r:id="rId28"/>
    <p:sldLayoutId id="2147486506" r:id="rId29"/>
    <p:sldLayoutId id="2147486507" r:id="rId30"/>
    <p:sldLayoutId id="2147486508" r:id="rId31"/>
    <p:sldLayoutId id="2147486509" r:id="rId32"/>
    <p:sldLayoutId id="2147486510" r:id="rId33"/>
    <p:sldLayoutId id="2147486511" r:id="rId34"/>
    <p:sldLayoutId id="2147486512" r:id="rId35"/>
    <p:sldLayoutId id="2147486513" r:id="rId36"/>
    <p:sldLayoutId id="2147486514" r:id="rId37"/>
    <p:sldLayoutId id="2147486515" r:id="rId38"/>
    <p:sldLayoutId id="2147486516" r:id="rId39"/>
    <p:sldLayoutId id="2147486517" r:id="rId40"/>
    <p:sldLayoutId id="2147486518" r:id="rId41"/>
    <p:sldLayoutId id="2147486519" r:id="rId42"/>
    <p:sldLayoutId id="2147486520" r:id="rId43"/>
    <p:sldLayoutId id="2147486521" r:id="rId44"/>
    <p:sldLayoutId id="2147486522" r:id="rId45"/>
    <p:sldLayoutId id="2147486523" r:id="rId46"/>
    <p:sldLayoutId id="2147486524" r:id="rId47"/>
    <p:sldLayoutId id="2147486525" r:id="rId48"/>
    <p:sldLayoutId id="2147486526" r:id="rId49"/>
    <p:sldLayoutId id="2147486527" r:id="rId50"/>
    <p:sldLayoutId id="2147486528" r:id="rId51"/>
    <p:sldLayoutId id="2147486529" r:id="rId52"/>
    <p:sldLayoutId id="2147486530" r:id="rId53"/>
    <p:sldLayoutId id="2147486531" r:id="rId54"/>
    <p:sldLayoutId id="2147486532" r:id="rId55"/>
    <p:sldLayoutId id="2147486533" r:id="rId56"/>
    <p:sldLayoutId id="2147486534" r:id="rId57"/>
    <p:sldLayoutId id="2147486535" r:id="rId58"/>
    <p:sldLayoutId id="2147486536" r:id="rId59"/>
    <p:sldLayoutId id="2147486537" r:id="rId60"/>
    <p:sldLayoutId id="2147486538" r:id="rId61"/>
    <p:sldLayoutId id="2147486539" r:id="rId62"/>
    <p:sldLayoutId id="2147486540" r:id="rId63"/>
    <p:sldLayoutId id="2147486541" r:id="rId64"/>
    <p:sldLayoutId id="2147486542" r:id="rId65"/>
    <p:sldLayoutId id="2147486543" r:id="rId66"/>
    <p:sldLayoutId id="2147486544" r:id="rId67"/>
    <p:sldLayoutId id="2147486545" r:id="rId68"/>
    <p:sldLayoutId id="2147486546" r:id="rId69"/>
    <p:sldLayoutId id="2147486547" r:id="rId70"/>
    <p:sldLayoutId id="2147486548" r:id="rId71"/>
    <p:sldLayoutId id="2147486549" r:id="rId72"/>
    <p:sldLayoutId id="2147486550" r:id="rId73"/>
    <p:sldLayoutId id="2147486551" r:id="rId74"/>
    <p:sldLayoutId id="2147486552" r:id="rId75"/>
    <p:sldLayoutId id="2147486553" r:id="rId76"/>
    <p:sldLayoutId id="2147486554" r:id="rId77"/>
    <p:sldLayoutId id="2147486555" r:id="rId78"/>
    <p:sldLayoutId id="2147486556" r:id="rId79"/>
    <p:sldLayoutId id="2147486557" r:id="rId80"/>
    <p:sldLayoutId id="2147486558" r:id="rId81"/>
    <p:sldLayoutId id="2147486559" r:id="rId82"/>
    <p:sldLayoutId id="2147486560" r:id="rId83"/>
    <p:sldLayoutId id="2147486561" r:id="rId84"/>
    <p:sldLayoutId id="2147486562" r:id="rId85"/>
    <p:sldLayoutId id="2147486563" r:id="rId86"/>
    <p:sldLayoutId id="2147486564" r:id="rId87"/>
    <p:sldLayoutId id="2147486565" r:id="rId88"/>
    <p:sldLayoutId id="2147486566" r:id="rId89"/>
    <p:sldLayoutId id="2147486567" r:id="rId90"/>
    <p:sldLayoutId id="2147486568" r:id="rId91"/>
    <p:sldLayoutId id="2147486569" r:id="rId92"/>
    <p:sldLayoutId id="2147486570" r:id="rId93"/>
    <p:sldLayoutId id="2147486571" r:id="rId94"/>
    <p:sldLayoutId id="2147486572" r:id="rId95"/>
    <p:sldLayoutId id="2147486573" r:id="rId96"/>
    <p:sldLayoutId id="2147486574" r:id="rId97"/>
    <p:sldLayoutId id="2147486575" r:id="rId98"/>
    <p:sldLayoutId id="2147486576" r:id="rId99"/>
    <p:sldLayoutId id="2147486577" r:id="rId100"/>
    <p:sldLayoutId id="2147486578" r:id="rId101"/>
    <p:sldLayoutId id="2147486579" r:id="rId102"/>
    <p:sldLayoutId id="2147486580" r:id="rId103"/>
    <p:sldLayoutId id="2147486581" r:id="rId104"/>
    <p:sldLayoutId id="2147486582" r:id="rId105"/>
    <p:sldLayoutId id="2147486583" r:id="rId106"/>
    <p:sldLayoutId id="2147486584" r:id="rId107"/>
    <p:sldLayoutId id="2147486585" r:id="rId108"/>
    <p:sldLayoutId id="2147486586" r:id="rId109"/>
    <p:sldLayoutId id="2147486587" r:id="rId110"/>
    <p:sldLayoutId id="2147486588" r:id="rId111"/>
    <p:sldLayoutId id="2147486589" r:id="rId112"/>
    <p:sldLayoutId id="2147486590" r:id="rId113"/>
    <p:sldLayoutId id="2147486591" r:id="rId114"/>
    <p:sldLayoutId id="2147486592" r:id="rId115"/>
    <p:sldLayoutId id="2147486593" r:id="rId116"/>
    <p:sldLayoutId id="2147486594" r:id="rId117"/>
    <p:sldLayoutId id="2147486595" r:id="rId118"/>
    <p:sldLayoutId id="2147486596" r:id="rId119"/>
    <p:sldLayoutId id="2147486597" r:id="rId120"/>
    <p:sldLayoutId id="2147486598" r:id="rId121"/>
    <p:sldLayoutId id="2147486599" r:id="rId122"/>
    <p:sldLayoutId id="2147486600" r:id="rId123"/>
    <p:sldLayoutId id="2147486601" r:id="rId124"/>
    <p:sldLayoutId id="2147486602" r:id="rId125"/>
    <p:sldLayoutId id="2147486603" r:id="rId126"/>
    <p:sldLayoutId id="2147486604" r:id="rId127"/>
    <p:sldLayoutId id="2147486605" r:id="rId128"/>
    <p:sldLayoutId id="2147486606" r:id="rId129"/>
    <p:sldLayoutId id="2147486607" r:id="rId130"/>
    <p:sldLayoutId id="2147486608" r:id="rId131"/>
    <p:sldLayoutId id="2147486609" r:id="rId132"/>
    <p:sldLayoutId id="2147486610" r:id="rId133"/>
    <p:sldLayoutId id="2147486611" r:id="rId134"/>
    <p:sldLayoutId id="2147486612" r:id="rId135"/>
    <p:sldLayoutId id="2147486613" r:id="rId136"/>
    <p:sldLayoutId id="2147486615" r:id="rId137"/>
    <p:sldLayoutId id="2147486616" r:id="rId138"/>
    <p:sldLayoutId id="2147486617" r:id="rId139"/>
    <p:sldLayoutId id="2147486618" r:id="rId140"/>
    <p:sldLayoutId id="2147486619" r:id="rId141"/>
    <p:sldLayoutId id="2147486620" r:id="rId142"/>
    <p:sldLayoutId id="2147486621" r:id="rId143"/>
    <p:sldLayoutId id="2147486622" r:id="rId144"/>
    <p:sldLayoutId id="2147486623" r:id="rId145"/>
    <p:sldLayoutId id="2147486624" r:id="rId146"/>
    <p:sldLayoutId id="2147486625" r:id="rId147"/>
    <p:sldLayoutId id="2147486626" r:id="rId148"/>
    <p:sldLayoutId id="2147486627" r:id="rId149"/>
    <p:sldLayoutId id="2147486628" r:id="rId150"/>
    <p:sldLayoutId id="2147486629" r:id="rId151"/>
    <p:sldLayoutId id="2147486630" r:id="rId152"/>
    <p:sldLayoutId id="2147486631" r:id="rId153"/>
    <p:sldLayoutId id="2147486632" r:id="rId154"/>
    <p:sldLayoutId id="2147486633" r:id="rId155"/>
    <p:sldLayoutId id="2147486634" r:id="rId156"/>
    <p:sldLayoutId id="2147486635" r:id="rId157"/>
    <p:sldLayoutId id="2147486636" r:id="rId158"/>
    <p:sldLayoutId id="2147486637" r:id="rId159"/>
    <p:sldLayoutId id="2147486638" r:id="rId160"/>
    <p:sldLayoutId id="2147486639" r:id="rId161"/>
    <p:sldLayoutId id="2147486640" r:id="rId162"/>
    <p:sldLayoutId id="2147486641" r:id="rId163"/>
    <p:sldLayoutId id="2147486642" r:id="rId164"/>
    <p:sldLayoutId id="2147486643" r:id="rId165"/>
    <p:sldLayoutId id="2147486644" r:id="rId166"/>
    <p:sldLayoutId id="2147486645" r:id="rId167"/>
    <p:sldLayoutId id="2147486646" r:id="rId168"/>
    <p:sldLayoutId id="2147486647" r:id="rId169"/>
    <p:sldLayoutId id="2147486648" r:id="rId170"/>
    <p:sldLayoutId id="2147486649" r:id="rId171"/>
    <p:sldLayoutId id="2147486650" r:id="rId172"/>
    <p:sldLayoutId id="2147486651" r:id="rId173"/>
    <p:sldLayoutId id="2147486652" r:id="rId174"/>
    <p:sldLayoutId id="2147486653" r:id="rId175"/>
    <p:sldLayoutId id="2147486654" r:id="rId176"/>
    <p:sldLayoutId id="2147486655" r:id="rId177"/>
    <p:sldLayoutId id="2147486656" r:id="rId178"/>
    <p:sldLayoutId id="2147486657" r:id="rId179"/>
    <p:sldLayoutId id="2147486658" r:id="rId180"/>
    <p:sldLayoutId id="2147486659" r:id="rId181"/>
    <p:sldLayoutId id="2147486660" r:id="rId182"/>
    <p:sldLayoutId id="2147486661" r:id="rId183"/>
    <p:sldLayoutId id="2147486662" r:id="rId184"/>
    <p:sldLayoutId id="2147486663" r:id="rId185"/>
    <p:sldLayoutId id="2147486664" r:id="rId186"/>
    <p:sldLayoutId id="2147486665" r:id="rId187"/>
    <p:sldLayoutId id="2147486666" r:id="rId188"/>
    <p:sldLayoutId id="2147486667" r:id="rId189"/>
    <p:sldLayoutId id="2147486668" r:id="rId190"/>
    <p:sldLayoutId id="2147486669" r:id="rId191"/>
    <p:sldLayoutId id="2147486670" r:id="rId192"/>
    <p:sldLayoutId id="2147486671" r:id="rId193"/>
    <p:sldLayoutId id="2147486672" r:id="rId194"/>
    <p:sldLayoutId id="2147486673" r:id="rId195"/>
    <p:sldLayoutId id="2147486674" r:id="rId196"/>
    <p:sldLayoutId id="2147486675" r:id="rId197"/>
    <p:sldLayoutId id="2147486676" r:id="rId198"/>
    <p:sldLayoutId id="2147486677" r:id="rId199"/>
    <p:sldLayoutId id="2147486678" r:id="rId200"/>
    <p:sldLayoutId id="2147486679" r:id="rId201"/>
    <p:sldLayoutId id="2147486680" r:id="rId202"/>
    <p:sldLayoutId id="2147486681" r:id="rId203"/>
    <p:sldLayoutId id="2147486682" r:id="rId204"/>
    <p:sldLayoutId id="2147486690" r:id="rId205"/>
    <p:sldLayoutId id="2147486691" r:id="rId20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0000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8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8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8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3" imgW="270" imgH="270" progId="TCLayout.ActiveDocument.1">
                  <p:embed/>
                </p:oleObj>
              </mc:Choice>
              <mc:Fallback>
                <p:oleObj name="think-cell Slide" r:id="rId13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2000250" y="622800"/>
            <a:ext cx="956310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10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1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7023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028" r:id="rId1"/>
    <p:sldLayoutId id="2147487029" r:id="rId2"/>
    <p:sldLayoutId id="2147487030" r:id="rId3"/>
    <p:sldLayoutId id="2147487031" r:id="rId4"/>
    <p:sldLayoutId id="2147487032" r:id="rId5"/>
    <p:sldLayoutId id="2147487033" r:id="rId6"/>
    <p:sldLayoutId id="2147487034" r:id="rId7"/>
    <p:sldLayoutId id="2147487035" r:id="rId8"/>
    <p:sldLayoutId id="2147487036" r:id="rId9"/>
    <p:sldLayoutId id="2147487037" r:id="rId10"/>
    <p:sldLayoutId id="2147487038" r:id="rId11"/>
    <p:sldLayoutId id="2147487039" r:id="rId12"/>
    <p:sldLayoutId id="2147487040" r:id="rId13"/>
    <p:sldLayoutId id="2147487041" r:id="rId14"/>
    <p:sldLayoutId id="2147487042" r:id="rId15"/>
    <p:sldLayoutId id="2147487043" r:id="rId16"/>
    <p:sldLayoutId id="2147487044" r:id="rId17"/>
    <p:sldLayoutId id="2147487045" r:id="rId18"/>
    <p:sldLayoutId id="2147487046" r:id="rId19"/>
    <p:sldLayoutId id="2147487047" r:id="rId20"/>
    <p:sldLayoutId id="2147487048" r:id="rId21"/>
    <p:sldLayoutId id="2147487049" r:id="rId22"/>
    <p:sldLayoutId id="2147487050" r:id="rId23"/>
    <p:sldLayoutId id="2147487051" r:id="rId24"/>
    <p:sldLayoutId id="2147487052" r:id="rId25"/>
    <p:sldLayoutId id="2147487053" r:id="rId26"/>
    <p:sldLayoutId id="2147487054" r:id="rId27"/>
    <p:sldLayoutId id="2147487055" r:id="rId28"/>
    <p:sldLayoutId id="2147487056" r:id="rId29"/>
    <p:sldLayoutId id="2147487057" r:id="rId30"/>
    <p:sldLayoutId id="2147487058" r:id="rId31"/>
    <p:sldLayoutId id="2147487059" r:id="rId32"/>
    <p:sldLayoutId id="2147487060" r:id="rId33"/>
    <p:sldLayoutId id="2147487061" r:id="rId34"/>
    <p:sldLayoutId id="2147487062" r:id="rId35"/>
    <p:sldLayoutId id="2147487063" r:id="rId36"/>
    <p:sldLayoutId id="2147487064" r:id="rId37"/>
    <p:sldLayoutId id="2147487065" r:id="rId38"/>
    <p:sldLayoutId id="2147487066" r:id="rId39"/>
    <p:sldLayoutId id="2147487067" r:id="rId40"/>
    <p:sldLayoutId id="2147487068" r:id="rId41"/>
    <p:sldLayoutId id="2147487069" r:id="rId42"/>
    <p:sldLayoutId id="2147487070" r:id="rId43"/>
    <p:sldLayoutId id="2147487071" r:id="rId44"/>
    <p:sldLayoutId id="2147487072" r:id="rId45"/>
    <p:sldLayoutId id="2147487073" r:id="rId46"/>
    <p:sldLayoutId id="2147487074" r:id="rId47"/>
    <p:sldLayoutId id="2147487075" r:id="rId48"/>
    <p:sldLayoutId id="2147487076" r:id="rId49"/>
    <p:sldLayoutId id="2147487077" r:id="rId50"/>
    <p:sldLayoutId id="2147487078" r:id="rId51"/>
    <p:sldLayoutId id="2147487079" r:id="rId52"/>
    <p:sldLayoutId id="2147487080" r:id="rId53"/>
    <p:sldLayoutId id="2147487081" r:id="rId54"/>
    <p:sldLayoutId id="2147487082" r:id="rId55"/>
    <p:sldLayoutId id="2147487083" r:id="rId56"/>
    <p:sldLayoutId id="2147487084" r:id="rId57"/>
    <p:sldLayoutId id="2147487085" r:id="rId58"/>
    <p:sldLayoutId id="2147487086" r:id="rId59"/>
    <p:sldLayoutId id="2147487087" r:id="rId60"/>
    <p:sldLayoutId id="2147487088" r:id="rId61"/>
    <p:sldLayoutId id="2147487089" r:id="rId62"/>
    <p:sldLayoutId id="2147487090" r:id="rId63"/>
    <p:sldLayoutId id="2147487091" r:id="rId64"/>
    <p:sldLayoutId id="2147487092" r:id="rId65"/>
    <p:sldLayoutId id="2147487093" r:id="rId66"/>
    <p:sldLayoutId id="2147487094" r:id="rId67"/>
    <p:sldLayoutId id="2147487095" r:id="rId68"/>
    <p:sldLayoutId id="2147487096" r:id="rId69"/>
    <p:sldLayoutId id="2147487097" r:id="rId70"/>
    <p:sldLayoutId id="2147487098" r:id="rId71"/>
    <p:sldLayoutId id="2147487099" r:id="rId72"/>
    <p:sldLayoutId id="2147487100" r:id="rId73"/>
    <p:sldLayoutId id="2147487101" r:id="rId74"/>
    <p:sldLayoutId id="2147487102" r:id="rId75"/>
    <p:sldLayoutId id="2147487103" r:id="rId76"/>
    <p:sldLayoutId id="2147487104" r:id="rId77"/>
    <p:sldLayoutId id="2147487105" r:id="rId78"/>
    <p:sldLayoutId id="2147487106" r:id="rId79"/>
    <p:sldLayoutId id="2147487107" r:id="rId80"/>
    <p:sldLayoutId id="2147487108" r:id="rId81"/>
    <p:sldLayoutId id="2147487109" r:id="rId82"/>
    <p:sldLayoutId id="2147487110" r:id="rId83"/>
    <p:sldLayoutId id="2147487111" r:id="rId84"/>
    <p:sldLayoutId id="2147487112" r:id="rId85"/>
    <p:sldLayoutId id="2147487113" r:id="rId86"/>
    <p:sldLayoutId id="2147487114" r:id="rId87"/>
    <p:sldLayoutId id="2147487115" r:id="rId88"/>
    <p:sldLayoutId id="2147487116" r:id="rId89"/>
    <p:sldLayoutId id="2147487117" r:id="rId90"/>
    <p:sldLayoutId id="2147487118" r:id="rId91"/>
    <p:sldLayoutId id="2147487119" r:id="rId92"/>
    <p:sldLayoutId id="2147487120" r:id="rId93"/>
    <p:sldLayoutId id="2147487121" r:id="rId94"/>
    <p:sldLayoutId id="2147487122" r:id="rId95"/>
    <p:sldLayoutId id="2147487123" r:id="rId96"/>
    <p:sldLayoutId id="2147487124" r:id="rId97"/>
    <p:sldLayoutId id="2147487125" r:id="rId98"/>
    <p:sldLayoutId id="2147487126" r:id="rId99"/>
    <p:sldLayoutId id="2147487127" r:id="rId100"/>
    <p:sldLayoutId id="2147487128" r:id="rId101"/>
    <p:sldLayoutId id="2147487129" r:id="rId102"/>
    <p:sldLayoutId id="2147487130" r:id="rId103"/>
    <p:sldLayoutId id="2147487131" r:id="rId104"/>
    <p:sldLayoutId id="2147487132" r:id="rId105"/>
    <p:sldLayoutId id="2147487133" r:id="rId106"/>
    <p:sldLayoutId id="2147487134" r:id="rId107"/>
    <p:sldLayoutId id="2147487135" r:id="rId108"/>
    <p:sldLayoutId id="2147487136" r:id="rId109"/>
    <p:sldLayoutId id="2147487137" r:id="rId110"/>
    <p:sldLayoutId id="2147487138" r:id="rId111"/>
    <p:sldLayoutId id="2147487139" r:id="rId112"/>
    <p:sldLayoutId id="2147487140" r:id="rId113"/>
    <p:sldLayoutId id="2147487141" r:id="rId114"/>
    <p:sldLayoutId id="2147487142" r:id="rId115"/>
    <p:sldLayoutId id="2147487143" r:id="rId116"/>
    <p:sldLayoutId id="2147487144" r:id="rId117"/>
    <p:sldLayoutId id="2147487145" r:id="rId118"/>
    <p:sldLayoutId id="2147487146" r:id="rId119"/>
    <p:sldLayoutId id="2147487147" r:id="rId120"/>
    <p:sldLayoutId id="2147487148" r:id="rId121"/>
    <p:sldLayoutId id="2147487149" r:id="rId122"/>
    <p:sldLayoutId id="2147487150" r:id="rId123"/>
    <p:sldLayoutId id="2147487151" r:id="rId124"/>
    <p:sldLayoutId id="2147487152" r:id="rId125"/>
    <p:sldLayoutId id="2147487153" r:id="rId126"/>
    <p:sldLayoutId id="2147487154" r:id="rId127"/>
    <p:sldLayoutId id="2147487155" r:id="rId128"/>
    <p:sldLayoutId id="2147487156" r:id="rId129"/>
    <p:sldLayoutId id="2147487167" r:id="rId130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0000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8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8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8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AC3AB3C-D6E3-DEDF-500C-2AD53838B2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8" imgW="404" imgH="405" progId="TCLayout.ActiveDocument.1">
                  <p:embed/>
                </p:oleObj>
              </mc:Choice>
              <mc:Fallback>
                <p:oleObj name="think-cell Slide" r:id="rId178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C3AB3C-D6E3-DEDF-500C-2AD53838B2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2000250" y="622800"/>
            <a:ext cx="956310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10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18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2318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52" r:id="rId1"/>
    <p:sldLayoutId id="2147486853" r:id="rId2"/>
    <p:sldLayoutId id="2147486854" r:id="rId3"/>
    <p:sldLayoutId id="2147486855" r:id="rId4"/>
    <p:sldLayoutId id="2147486856" r:id="rId5"/>
    <p:sldLayoutId id="2147486857" r:id="rId6"/>
    <p:sldLayoutId id="2147486858" r:id="rId7"/>
    <p:sldLayoutId id="2147486859" r:id="rId8"/>
    <p:sldLayoutId id="2147486860" r:id="rId9"/>
    <p:sldLayoutId id="2147486861" r:id="rId10"/>
    <p:sldLayoutId id="2147486862" r:id="rId11"/>
    <p:sldLayoutId id="2147486863" r:id="rId12"/>
    <p:sldLayoutId id="2147486864" r:id="rId13"/>
    <p:sldLayoutId id="2147486865" r:id="rId14"/>
    <p:sldLayoutId id="2147486866" r:id="rId15"/>
    <p:sldLayoutId id="2147486867" r:id="rId16"/>
    <p:sldLayoutId id="2147486868" r:id="rId17"/>
    <p:sldLayoutId id="2147486869" r:id="rId18"/>
    <p:sldLayoutId id="2147486870" r:id="rId19"/>
    <p:sldLayoutId id="2147486871" r:id="rId20"/>
    <p:sldLayoutId id="2147486872" r:id="rId21"/>
    <p:sldLayoutId id="2147486873" r:id="rId22"/>
    <p:sldLayoutId id="2147486874" r:id="rId23"/>
    <p:sldLayoutId id="2147486875" r:id="rId24"/>
    <p:sldLayoutId id="2147486876" r:id="rId25"/>
    <p:sldLayoutId id="2147486877" r:id="rId26"/>
    <p:sldLayoutId id="2147486878" r:id="rId27"/>
    <p:sldLayoutId id="2147486879" r:id="rId28"/>
    <p:sldLayoutId id="2147486880" r:id="rId29"/>
    <p:sldLayoutId id="2147486881" r:id="rId30"/>
    <p:sldLayoutId id="2147486882" r:id="rId31"/>
    <p:sldLayoutId id="2147486883" r:id="rId32"/>
    <p:sldLayoutId id="2147486884" r:id="rId33"/>
    <p:sldLayoutId id="2147486885" r:id="rId34"/>
    <p:sldLayoutId id="2147486886" r:id="rId35"/>
    <p:sldLayoutId id="2147486887" r:id="rId36"/>
    <p:sldLayoutId id="2147486888" r:id="rId37"/>
    <p:sldLayoutId id="2147486889" r:id="rId38"/>
    <p:sldLayoutId id="2147486890" r:id="rId39"/>
    <p:sldLayoutId id="2147486891" r:id="rId40"/>
    <p:sldLayoutId id="2147486892" r:id="rId41"/>
    <p:sldLayoutId id="2147486893" r:id="rId42"/>
    <p:sldLayoutId id="2147486894" r:id="rId43"/>
    <p:sldLayoutId id="2147486895" r:id="rId44"/>
    <p:sldLayoutId id="2147486896" r:id="rId45"/>
    <p:sldLayoutId id="2147486897" r:id="rId46"/>
    <p:sldLayoutId id="2147486898" r:id="rId47"/>
    <p:sldLayoutId id="2147486899" r:id="rId48"/>
    <p:sldLayoutId id="2147486900" r:id="rId49"/>
    <p:sldLayoutId id="2147486901" r:id="rId50"/>
    <p:sldLayoutId id="2147486902" r:id="rId51"/>
    <p:sldLayoutId id="2147486903" r:id="rId52"/>
    <p:sldLayoutId id="2147486904" r:id="rId53"/>
    <p:sldLayoutId id="2147486905" r:id="rId54"/>
    <p:sldLayoutId id="2147486906" r:id="rId55"/>
    <p:sldLayoutId id="2147486907" r:id="rId56"/>
    <p:sldLayoutId id="2147486908" r:id="rId57"/>
    <p:sldLayoutId id="2147486909" r:id="rId58"/>
    <p:sldLayoutId id="2147486910" r:id="rId59"/>
    <p:sldLayoutId id="2147486911" r:id="rId60"/>
    <p:sldLayoutId id="2147486912" r:id="rId61"/>
    <p:sldLayoutId id="2147486913" r:id="rId62"/>
    <p:sldLayoutId id="2147486914" r:id="rId63"/>
    <p:sldLayoutId id="2147486915" r:id="rId64"/>
    <p:sldLayoutId id="2147486916" r:id="rId65"/>
    <p:sldLayoutId id="2147486917" r:id="rId66"/>
    <p:sldLayoutId id="2147486918" r:id="rId67"/>
    <p:sldLayoutId id="2147486919" r:id="rId68"/>
    <p:sldLayoutId id="2147486920" r:id="rId69"/>
    <p:sldLayoutId id="2147486921" r:id="rId70"/>
    <p:sldLayoutId id="2147486922" r:id="rId71"/>
    <p:sldLayoutId id="2147486923" r:id="rId72"/>
    <p:sldLayoutId id="2147486924" r:id="rId73"/>
    <p:sldLayoutId id="2147486925" r:id="rId74"/>
    <p:sldLayoutId id="2147486926" r:id="rId75"/>
    <p:sldLayoutId id="2147486927" r:id="rId76"/>
    <p:sldLayoutId id="2147486928" r:id="rId77"/>
    <p:sldLayoutId id="2147486929" r:id="rId78"/>
    <p:sldLayoutId id="2147486930" r:id="rId79"/>
    <p:sldLayoutId id="2147486931" r:id="rId80"/>
    <p:sldLayoutId id="2147486932" r:id="rId81"/>
    <p:sldLayoutId id="2147486933" r:id="rId82"/>
    <p:sldLayoutId id="2147486934" r:id="rId83"/>
    <p:sldLayoutId id="2147486935" r:id="rId84"/>
    <p:sldLayoutId id="2147486936" r:id="rId85"/>
    <p:sldLayoutId id="2147486937" r:id="rId86"/>
    <p:sldLayoutId id="2147486938" r:id="rId87"/>
    <p:sldLayoutId id="2147486939" r:id="rId88"/>
    <p:sldLayoutId id="2147486940" r:id="rId89"/>
    <p:sldLayoutId id="2147486941" r:id="rId90"/>
    <p:sldLayoutId id="2147486942" r:id="rId91"/>
    <p:sldLayoutId id="2147486943" r:id="rId92"/>
    <p:sldLayoutId id="2147486944" r:id="rId93"/>
    <p:sldLayoutId id="2147486945" r:id="rId94"/>
    <p:sldLayoutId id="2147486946" r:id="rId95"/>
    <p:sldLayoutId id="2147486947" r:id="rId96"/>
    <p:sldLayoutId id="2147486948" r:id="rId97"/>
    <p:sldLayoutId id="2147486949" r:id="rId98"/>
    <p:sldLayoutId id="2147486950" r:id="rId99"/>
    <p:sldLayoutId id="2147486951" r:id="rId100"/>
    <p:sldLayoutId id="2147486952" r:id="rId101"/>
    <p:sldLayoutId id="2147486953" r:id="rId102"/>
    <p:sldLayoutId id="2147486954" r:id="rId103"/>
    <p:sldLayoutId id="2147486955" r:id="rId104"/>
    <p:sldLayoutId id="2147486956" r:id="rId105"/>
    <p:sldLayoutId id="2147486957" r:id="rId106"/>
    <p:sldLayoutId id="2147486958" r:id="rId107"/>
    <p:sldLayoutId id="2147486959" r:id="rId108"/>
    <p:sldLayoutId id="2147486960" r:id="rId109"/>
    <p:sldLayoutId id="2147486961" r:id="rId110"/>
    <p:sldLayoutId id="2147486962" r:id="rId111"/>
    <p:sldLayoutId id="2147486963" r:id="rId112"/>
    <p:sldLayoutId id="2147486964" r:id="rId113"/>
    <p:sldLayoutId id="2147486965" r:id="rId114"/>
    <p:sldLayoutId id="2147486966" r:id="rId115"/>
    <p:sldLayoutId id="2147486967" r:id="rId116"/>
    <p:sldLayoutId id="2147486968" r:id="rId117"/>
    <p:sldLayoutId id="2147486969" r:id="rId118"/>
    <p:sldLayoutId id="2147486970" r:id="rId119"/>
    <p:sldLayoutId id="2147486971" r:id="rId120"/>
    <p:sldLayoutId id="2147486972" r:id="rId121"/>
    <p:sldLayoutId id="2147486973" r:id="rId122"/>
    <p:sldLayoutId id="2147486974" r:id="rId123"/>
    <p:sldLayoutId id="2147486975" r:id="rId124"/>
    <p:sldLayoutId id="2147486976" r:id="rId125"/>
    <p:sldLayoutId id="2147486977" r:id="rId126"/>
    <p:sldLayoutId id="2147486978" r:id="rId127"/>
    <p:sldLayoutId id="2147486979" r:id="rId128"/>
    <p:sldLayoutId id="2147486980" r:id="rId129"/>
    <p:sldLayoutId id="2147486981" r:id="rId130"/>
    <p:sldLayoutId id="2147486982" r:id="rId131"/>
    <p:sldLayoutId id="2147486983" r:id="rId132"/>
    <p:sldLayoutId id="2147486984" r:id="rId133"/>
    <p:sldLayoutId id="2147486985" r:id="rId134"/>
    <p:sldLayoutId id="2147486986" r:id="rId135"/>
    <p:sldLayoutId id="2147486987" r:id="rId136"/>
    <p:sldLayoutId id="2147486988" r:id="rId137"/>
    <p:sldLayoutId id="2147486989" r:id="rId138"/>
    <p:sldLayoutId id="2147486990" r:id="rId139"/>
    <p:sldLayoutId id="2147486991" r:id="rId140"/>
    <p:sldLayoutId id="2147486992" r:id="rId141"/>
    <p:sldLayoutId id="2147486993" r:id="rId142"/>
    <p:sldLayoutId id="2147486994" r:id="rId143"/>
    <p:sldLayoutId id="2147486995" r:id="rId144"/>
    <p:sldLayoutId id="2147486996" r:id="rId145"/>
    <p:sldLayoutId id="2147486997" r:id="rId146"/>
    <p:sldLayoutId id="2147486998" r:id="rId147"/>
    <p:sldLayoutId id="2147486999" r:id="rId148"/>
    <p:sldLayoutId id="2147487000" r:id="rId149"/>
    <p:sldLayoutId id="2147487001" r:id="rId150"/>
    <p:sldLayoutId id="2147487002" r:id="rId151"/>
    <p:sldLayoutId id="2147487003" r:id="rId152"/>
    <p:sldLayoutId id="2147487004" r:id="rId153"/>
    <p:sldLayoutId id="2147487005" r:id="rId154"/>
    <p:sldLayoutId id="2147487006" r:id="rId155"/>
    <p:sldLayoutId id="2147487007" r:id="rId156"/>
    <p:sldLayoutId id="2147487008" r:id="rId157"/>
    <p:sldLayoutId id="2147487009" r:id="rId158"/>
    <p:sldLayoutId id="2147487010" r:id="rId159"/>
    <p:sldLayoutId id="2147487011" r:id="rId160"/>
    <p:sldLayoutId id="2147487012" r:id="rId161"/>
    <p:sldLayoutId id="2147487013" r:id="rId162"/>
    <p:sldLayoutId id="2147487014" r:id="rId163"/>
    <p:sldLayoutId id="2147487015" r:id="rId164"/>
    <p:sldLayoutId id="2147487016" r:id="rId165"/>
    <p:sldLayoutId id="2147487017" r:id="rId166"/>
    <p:sldLayoutId id="2147487018" r:id="rId167"/>
    <p:sldLayoutId id="2147487019" r:id="rId168"/>
    <p:sldLayoutId id="2147487020" r:id="rId169"/>
    <p:sldLayoutId id="2147487021" r:id="rId170"/>
    <p:sldLayoutId id="2147487022" r:id="rId171"/>
    <p:sldLayoutId id="2147487023" r:id="rId172"/>
    <p:sldLayoutId id="2147487024" r:id="rId173"/>
    <p:sldLayoutId id="2147487025" r:id="rId174"/>
    <p:sldLayoutId id="2147487026" r:id="rId17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0000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8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8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8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AC3AB3C-D6E3-DEDF-500C-2AD53838B2DC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04" imgH="405" progId="TCLayout.ActiveDocument.1">
                  <p:embed/>
                </p:oleObj>
              </mc:Choice>
              <mc:Fallback>
                <p:oleObj name="think-cell Slide" r:id="rId6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C3AB3C-D6E3-DEDF-500C-2AD53838B2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2000250" y="622800"/>
            <a:ext cx="956310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10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730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361" r:id="rId1"/>
    <p:sldLayoutId id="2147485215" r:id="rId2"/>
    <p:sldLayoutId id="2147487360" r:id="rId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0000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8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8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8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819.xml"/><Relationship Id="rId2" Type="http://schemas.openxmlformats.org/officeDocument/2006/relationships/tags" Target="../tags/tag818.xml"/><Relationship Id="rId1" Type="http://schemas.openxmlformats.org/officeDocument/2006/relationships/tags" Target="../tags/tag817.xml"/><Relationship Id="rId5" Type="http://schemas.openxmlformats.org/officeDocument/2006/relationships/slideLayout" Target="../slideLayouts/slideLayout731.xml"/><Relationship Id="rId4" Type="http://schemas.openxmlformats.org/officeDocument/2006/relationships/tags" Target="../tags/tag8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823.xml"/><Relationship Id="rId2" Type="http://schemas.openxmlformats.org/officeDocument/2006/relationships/tags" Target="../tags/tag822.xml"/><Relationship Id="rId1" Type="http://schemas.openxmlformats.org/officeDocument/2006/relationships/tags" Target="../tags/tag821.xml"/><Relationship Id="rId4" Type="http://schemas.openxmlformats.org/officeDocument/2006/relationships/slideLayout" Target="../slideLayouts/slideLayout7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CFAAFF-CA4C-1EFF-6100-055A969DFC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PD Process description</a:t>
            </a:r>
          </a:p>
        </p:txBody>
      </p:sp>
      <p:sp>
        <p:nvSpPr>
          <p:cNvPr id="3" name="ValueChainHeader">
            <a:extLst>
              <a:ext uri="{FF2B5EF4-FFF2-40B4-BE49-F238E27FC236}">
                <a16:creationId xmlns:a16="http://schemas.microsoft.com/office/drawing/2014/main" id="{95C80935-75BA-157B-61E2-DC9E7FEDF34C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145235" y="990571"/>
            <a:ext cx="2465230" cy="656842"/>
          </a:xfrm>
          <a:prstGeom prst="chevron">
            <a:avLst>
              <a:gd name="adj" fmla="val 12004"/>
            </a:avLst>
          </a:prstGeom>
          <a:solidFill>
            <a:schemeClr val="accent6">
              <a:lumMod val="75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ts val="800"/>
              <a:buFont typeface="Trebuchet MS" panose="020B0603020202020204" pitchFamily="34" charset="0"/>
              <a:buChar char="​"/>
            </a:pPr>
            <a:r>
              <a:rPr lang="en-US" sz="1000" b="1" dirty="0">
                <a:solidFill>
                  <a:schemeClr val="bg1"/>
                </a:solidFill>
                <a:latin typeface="Trebuchet MS"/>
                <a:sym typeface="Trebuchet MS" panose="020B0603020202020204" pitchFamily="34" charset="0"/>
              </a:rPr>
              <a:t>Opportunity identification &amp; </a:t>
            </a:r>
          </a:p>
          <a:p>
            <a:pPr algn="ctr">
              <a:buSzPts val="800"/>
              <a:buFont typeface="Trebuchet MS" panose="020B0603020202020204" pitchFamily="34" charset="0"/>
              <a:buChar char="​"/>
            </a:pPr>
            <a:r>
              <a:rPr lang="en-US" sz="1000" b="1" dirty="0">
                <a:solidFill>
                  <a:schemeClr val="bg1"/>
                </a:solidFill>
                <a:latin typeface="Trebuchet MS"/>
                <a:sym typeface="Trebuchet MS" panose="020B0603020202020204" pitchFamily="34" charset="0"/>
              </a:rPr>
              <a:t>strategic planning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42BF735-2F7B-B7C8-2366-9A885E374256}"/>
              </a:ext>
            </a:extLst>
          </p:cNvPr>
          <p:cNvSpPr txBox="1"/>
          <p:nvPr/>
        </p:nvSpPr>
        <p:spPr>
          <a:xfrm>
            <a:off x="1145235" y="1723517"/>
            <a:ext cx="2465230" cy="149141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900" dirty="0">
                <a:solidFill>
                  <a:schemeClr val="tx1"/>
                </a:solidFill>
              </a:rPr>
              <a:t>1. Customer requirements assessment </a:t>
            </a:r>
          </a:p>
          <a:p>
            <a:r>
              <a:rPr lang="en-IN" sz="900" dirty="0">
                <a:solidFill>
                  <a:schemeClr val="tx1"/>
                </a:solidFill>
              </a:rPr>
              <a:t>2. Product vision and conceptualisation</a:t>
            </a:r>
          </a:p>
          <a:p>
            <a:r>
              <a:rPr lang="en-IN" sz="900" dirty="0">
                <a:solidFill>
                  <a:schemeClr val="tx1"/>
                </a:solidFill>
              </a:rPr>
              <a:t>3. Benchmarking and teardown</a:t>
            </a:r>
          </a:p>
          <a:p>
            <a:r>
              <a:rPr lang="en-IN" sz="900" dirty="0">
                <a:solidFill>
                  <a:schemeClr val="tx1"/>
                </a:solidFill>
              </a:rPr>
              <a:t>4. Simulation modelling (thermal, electrochemical)</a:t>
            </a:r>
          </a:p>
          <a:p>
            <a:r>
              <a:rPr lang="en-IN" sz="900" dirty="0">
                <a:solidFill>
                  <a:schemeClr val="tx1"/>
                </a:solidFill>
              </a:rPr>
              <a:t>5. Cost modelling</a:t>
            </a:r>
          </a:p>
          <a:p>
            <a:r>
              <a:rPr lang="en-IN" sz="900" dirty="0">
                <a:solidFill>
                  <a:schemeClr val="tx1"/>
                </a:solidFill>
              </a:rPr>
              <a:t>6. Material supply chain availability</a:t>
            </a:r>
          </a:p>
          <a:p>
            <a:r>
              <a:rPr lang="en-IN" sz="900" dirty="0">
                <a:solidFill>
                  <a:schemeClr val="tx1"/>
                </a:solidFill>
              </a:rPr>
              <a:t>7. Supplier screening and evalua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0E70A8D-D800-9603-0930-125609D8CF34}"/>
              </a:ext>
            </a:extLst>
          </p:cNvPr>
          <p:cNvSpPr/>
          <p:nvPr/>
        </p:nvSpPr>
        <p:spPr>
          <a:xfrm rot="16200000">
            <a:off x="211506" y="2307768"/>
            <a:ext cx="1355834" cy="322915"/>
          </a:xfrm>
          <a:prstGeom prst="rect">
            <a:avLst/>
          </a:prstGeom>
          <a:solidFill>
            <a:srgbClr val="ED1B24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Procedu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2F0A880-8CCE-21C4-73E7-022AA428DB9F}"/>
              </a:ext>
            </a:extLst>
          </p:cNvPr>
          <p:cNvSpPr txBox="1"/>
          <p:nvPr/>
        </p:nvSpPr>
        <p:spPr>
          <a:xfrm>
            <a:off x="1145234" y="3308480"/>
            <a:ext cx="2465231" cy="135583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tx1"/>
                </a:solidFill>
              </a:defRPr>
            </a:lvl1pPr>
          </a:lstStyle>
          <a:p>
            <a:r>
              <a:rPr lang="en-IN" sz="900" dirty="0"/>
              <a:t>1. SOR</a:t>
            </a:r>
          </a:p>
          <a:p>
            <a:r>
              <a:rPr lang="en-IN" sz="900" dirty="0"/>
              <a:t>2. Basic cell design and concept document</a:t>
            </a:r>
          </a:p>
          <a:p>
            <a:r>
              <a:rPr lang="en-IN" sz="900" dirty="0"/>
              <a:t>3. Development approach</a:t>
            </a:r>
          </a:p>
          <a:p>
            <a:r>
              <a:rPr lang="en-IN" sz="900" dirty="0"/>
              <a:t>4. Basic simulation results</a:t>
            </a:r>
          </a:p>
          <a:p>
            <a:r>
              <a:rPr lang="en-IN" sz="900" dirty="0"/>
              <a:t>5. Initial BOM and cost model</a:t>
            </a:r>
          </a:p>
          <a:p>
            <a:r>
              <a:rPr lang="en-IN" sz="900" dirty="0"/>
              <a:t>6. Supplier long lis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A4BD07D-F863-CCC3-3B4C-FE6DDC7D0ECA}"/>
              </a:ext>
            </a:extLst>
          </p:cNvPr>
          <p:cNvSpPr/>
          <p:nvPr/>
        </p:nvSpPr>
        <p:spPr>
          <a:xfrm rot="16200000">
            <a:off x="211506" y="3839618"/>
            <a:ext cx="1355834" cy="293559"/>
          </a:xfrm>
          <a:prstGeom prst="rect">
            <a:avLst/>
          </a:prstGeom>
          <a:solidFill>
            <a:srgbClr val="ED1B24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Deliverab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87A24EF-56C6-D14A-E655-F748E7FEDC0F}"/>
              </a:ext>
            </a:extLst>
          </p:cNvPr>
          <p:cNvSpPr txBox="1"/>
          <p:nvPr/>
        </p:nvSpPr>
        <p:spPr>
          <a:xfrm>
            <a:off x="1145235" y="4759662"/>
            <a:ext cx="2465232" cy="14755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tx1"/>
                </a:solidFill>
              </a:defRPr>
            </a:lvl1pPr>
          </a:lstStyle>
          <a:p>
            <a:r>
              <a:rPr lang="en-IN" sz="900" dirty="0"/>
              <a:t>Comparative analysis of cell concepts on following parameters</a:t>
            </a:r>
          </a:p>
          <a:p>
            <a:pPr marL="171450" indent="-171450">
              <a:buFontTx/>
              <a:buChar char="-"/>
            </a:pPr>
            <a:r>
              <a:rPr lang="en-IN" sz="900" dirty="0"/>
              <a:t>Business case and market opportunity</a:t>
            </a:r>
          </a:p>
          <a:p>
            <a:pPr marL="171450" indent="-171450">
              <a:buFontTx/>
              <a:buChar char="-"/>
            </a:pPr>
            <a:r>
              <a:rPr lang="en-IN" sz="900" dirty="0"/>
              <a:t>Design feasibility</a:t>
            </a:r>
          </a:p>
          <a:p>
            <a:pPr marL="171450" indent="-171450">
              <a:buFontTx/>
              <a:buChar char="-"/>
            </a:pPr>
            <a:r>
              <a:rPr lang="en-IN" sz="900" dirty="0"/>
              <a:t>Supply chain feasibility</a:t>
            </a:r>
          </a:p>
          <a:p>
            <a:pPr marL="171450" indent="-171450">
              <a:buFontTx/>
              <a:buChar char="-"/>
            </a:pPr>
            <a:r>
              <a:rPr lang="en-IN" sz="900" dirty="0"/>
              <a:t>Initial performance model and simulation results</a:t>
            </a:r>
          </a:p>
          <a:p>
            <a:pPr marL="171450" indent="-171450">
              <a:buFontTx/>
              <a:buChar char="-"/>
            </a:pPr>
            <a:r>
              <a:rPr lang="en-IN" sz="900" dirty="0"/>
              <a:t>Development timelin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FEBCB8-45C9-B90D-5311-0CF269D801BF}"/>
              </a:ext>
            </a:extLst>
          </p:cNvPr>
          <p:cNvSpPr/>
          <p:nvPr/>
        </p:nvSpPr>
        <p:spPr>
          <a:xfrm rot="16200000">
            <a:off x="211506" y="5290800"/>
            <a:ext cx="1355834" cy="293559"/>
          </a:xfrm>
          <a:prstGeom prst="rect">
            <a:avLst/>
          </a:prstGeom>
          <a:solidFill>
            <a:srgbClr val="ED1B24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Decision Criteria</a:t>
            </a:r>
          </a:p>
        </p:txBody>
      </p:sp>
      <p:sp>
        <p:nvSpPr>
          <p:cNvPr id="10" name="ValueChainHeader">
            <a:extLst>
              <a:ext uri="{FF2B5EF4-FFF2-40B4-BE49-F238E27FC236}">
                <a16:creationId xmlns:a16="http://schemas.microsoft.com/office/drawing/2014/main" id="{7CF2AA07-514D-4C60-373F-0391907C0BE3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758024" y="1001566"/>
            <a:ext cx="2465230" cy="656842"/>
          </a:xfrm>
          <a:prstGeom prst="chevron">
            <a:avLst>
              <a:gd name="adj" fmla="val 12004"/>
            </a:avLst>
          </a:prstGeom>
          <a:solidFill>
            <a:schemeClr val="accent6">
              <a:lumMod val="75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ts val="800"/>
              <a:buFont typeface="Trebuchet MS" panose="020B0603020202020204" pitchFamily="34" charset="0"/>
              <a:buChar char="​"/>
            </a:pPr>
            <a:r>
              <a:rPr lang="en-US" sz="1000" b="1" dirty="0">
                <a:solidFill>
                  <a:schemeClr val="bg1"/>
                </a:solidFill>
                <a:latin typeface="Trebuchet MS"/>
                <a:sym typeface="Trebuchet MS" panose="020B0603020202020204" pitchFamily="34" charset="0"/>
              </a:rPr>
              <a:t>Cell design </a:t>
            </a:r>
          </a:p>
          <a:p>
            <a:pPr algn="ctr">
              <a:buSzPts val="800"/>
              <a:buFont typeface="Trebuchet MS" panose="020B0603020202020204" pitchFamily="34" charset="0"/>
              <a:buChar char="​"/>
            </a:pPr>
            <a:r>
              <a:rPr lang="en-US" sz="1000" b="1" dirty="0">
                <a:solidFill>
                  <a:schemeClr val="bg1"/>
                </a:solidFill>
                <a:latin typeface="Trebuchet MS"/>
                <a:sym typeface="Trebuchet MS" panose="020B0603020202020204" pitchFamily="34" charset="0"/>
              </a:rPr>
              <a:t>valid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E9BA538-5441-4EB6-87D2-E538E95942AF}"/>
              </a:ext>
            </a:extLst>
          </p:cNvPr>
          <p:cNvSpPr txBox="1"/>
          <p:nvPr/>
        </p:nvSpPr>
        <p:spPr>
          <a:xfrm>
            <a:off x="3758024" y="1734512"/>
            <a:ext cx="2465230" cy="149141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tx1"/>
                </a:solidFill>
              </a:defRPr>
            </a:lvl1pPr>
          </a:lstStyle>
          <a:p>
            <a:r>
              <a:rPr lang="en-IN" sz="900" dirty="0"/>
              <a:t>1. Material performance &amp; cost evaluation. </a:t>
            </a:r>
          </a:p>
          <a:p>
            <a:r>
              <a:rPr lang="en-IN" sz="900" dirty="0"/>
              <a:t>2. supplier selection and material sourcing</a:t>
            </a:r>
          </a:p>
          <a:p>
            <a:r>
              <a:rPr lang="en-IN" sz="900" dirty="0"/>
              <a:t>3. Assembly of coin cell and pouch cells</a:t>
            </a:r>
          </a:p>
          <a:p>
            <a:r>
              <a:rPr lang="en-IN" sz="900" dirty="0"/>
              <a:t>4. Initial process parameter evaluation and optimization</a:t>
            </a:r>
          </a:p>
          <a:p>
            <a:r>
              <a:rPr lang="en-IN" sz="900" dirty="0"/>
              <a:t>5. Testing (performance and lifetime)</a:t>
            </a:r>
          </a:p>
          <a:p>
            <a:r>
              <a:rPr lang="en-IN" sz="900" dirty="0"/>
              <a:t>6. Reparameterization of the models and simulation</a:t>
            </a:r>
          </a:p>
          <a:p>
            <a:r>
              <a:rPr lang="en-IN" sz="900" dirty="0"/>
              <a:t>7. Optimization of initial BOM</a:t>
            </a:r>
          </a:p>
          <a:p>
            <a:r>
              <a:rPr lang="en-IN" sz="900" dirty="0"/>
              <a:t>8. Conduction of functional safety tests</a:t>
            </a:r>
          </a:p>
          <a:p>
            <a:endParaRPr lang="en-IN" sz="9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31E2A8D-7FD3-1401-E883-F0947F8CE9D4}"/>
              </a:ext>
            </a:extLst>
          </p:cNvPr>
          <p:cNvSpPr txBox="1"/>
          <p:nvPr/>
        </p:nvSpPr>
        <p:spPr>
          <a:xfrm>
            <a:off x="3758024" y="3319475"/>
            <a:ext cx="2465230" cy="135583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/>
                </a:solidFill>
              </a:defRPr>
            </a:lvl1pPr>
          </a:lstStyle>
          <a:p>
            <a:r>
              <a:rPr lang="en-IN" dirty="0"/>
              <a:t>1. Specification sheet for the A-Sample</a:t>
            </a:r>
          </a:p>
          <a:p>
            <a:r>
              <a:rPr lang="en-IN" dirty="0"/>
              <a:t>2. Detailed cell design</a:t>
            </a:r>
          </a:p>
          <a:p>
            <a:r>
              <a:rPr lang="en-IN" dirty="0"/>
              <a:t>3. Defined electrode formulations</a:t>
            </a:r>
          </a:p>
          <a:p>
            <a:r>
              <a:rPr lang="en-IN" dirty="0"/>
              <a:t>4. Material performance evaluation results</a:t>
            </a:r>
          </a:p>
          <a:p>
            <a:r>
              <a:rPr lang="en-IN" dirty="0"/>
              <a:t>5. BOM</a:t>
            </a:r>
          </a:p>
          <a:p>
            <a:r>
              <a:rPr lang="en-IN" dirty="0"/>
              <a:t>6. Initial performance model set-up (Capacity, OCV, IR, etc.)</a:t>
            </a:r>
          </a:p>
          <a:p>
            <a:r>
              <a:rPr lang="en-IN" dirty="0"/>
              <a:t>7. Initial production process</a:t>
            </a:r>
          </a:p>
          <a:p>
            <a:r>
              <a:rPr lang="en-IN" dirty="0"/>
              <a:t>8. DFMEA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6B4E695-B0FF-3D74-5C7B-E591D831EECB}"/>
              </a:ext>
            </a:extLst>
          </p:cNvPr>
          <p:cNvSpPr txBox="1"/>
          <p:nvPr/>
        </p:nvSpPr>
        <p:spPr>
          <a:xfrm>
            <a:off x="3758024" y="4770656"/>
            <a:ext cx="2465230" cy="146454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/>
                </a:solidFill>
              </a:defRPr>
            </a:lvl1pPr>
          </a:lstStyle>
          <a:p>
            <a:r>
              <a:rPr lang="en-IN" sz="900" dirty="0"/>
              <a:t>Comparative analysis of cell concepts on following parameters</a:t>
            </a:r>
          </a:p>
          <a:p>
            <a:pPr marL="171450" indent="-171450">
              <a:buFontTx/>
              <a:buChar char="-"/>
            </a:pPr>
            <a:r>
              <a:rPr lang="en-IN" dirty="0"/>
              <a:t>Assessment of requirements fulfilment</a:t>
            </a:r>
          </a:p>
          <a:p>
            <a:pPr marL="171450" indent="-171450">
              <a:buFontTx/>
              <a:buChar char="-"/>
            </a:pPr>
            <a:r>
              <a:rPr lang="en-IN" dirty="0"/>
              <a:t>Production process feasibility of different designs</a:t>
            </a:r>
          </a:p>
          <a:p>
            <a:pPr marL="171450" indent="-171450">
              <a:buFontTx/>
              <a:buChar char="-"/>
            </a:pPr>
            <a:r>
              <a:rPr lang="en-IN" dirty="0"/>
              <a:t>BOM cost</a:t>
            </a:r>
          </a:p>
          <a:p>
            <a:pPr marL="171450" indent="-171450">
              <a:buFontTx/>
              <a:buChar char="-"/>
            </a:pPr>
            <a:r>
              <a:rPr lang="en-IN" dirty="0"/>
              <a:t>Functional safety</a:t>
            </a:r>
          </a:p>
        </p:txBody>
      </p:sp>
      <p:sp>
        <p:nvSpPr>
          <p:cNvPr id="34" name="ValueChainHeader">
            <a:extLst>
              <a:ext uri="{FF2B5EF4-FFF2-40B4-BE49-F238E27FC236}">
                <a16:creationId xmlns:a16="http://schemas.microsoft.com/office/drawing/2014/main" id="{4457ED7E-658B-F452-48E9-24604FE3B1A5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342543" y="1001566"/>
            <a:ext cx="2465230" cy="656842"/>
          </a:xfrm>
          <a:prstGeom prst="chevron">
            <a:avLst>
              <a:gd name="adj" fmla="val 12004"/>
            </a:avLst>
          </a:prstGeom>
          <a:solidFill>
            <a:schemeClr val="accent6">
              <a:lumMod val="75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ts val="800"/>
              <a:buFont typeface="Trebuchet MS" panose="020B0603020202020204" pitchFamily="34" charset="0"/>
              <a:buChar char="​"/>
            </a:pPr>
            <a:r>
              <a:rPr lang="en-US" sz="1000" b="1" dirty="0">
                <a:solidFill>
                  <a:schemeClr val="bg1"/>
                </a:solidFill>
                <a:latin typeface="Trebuchet MS"/>
                <a:sym typeface="Trebuchet MS" panose="020B0603020202020204" pitchFamily="34" charset="0"/>
              </a:rPr>
              <a:t>Prototype cell </a:t>
            </a:r>
          </a:p>
          <a:p>
            <a:pPr algn="ctr">
              <a:buSzPts val="800"/>
              <a:buFont typeface="Trebuchet MS" panose="020B0603020202020204" pitchFamily="34" charset="0"/>
              <a:buChar char="​"/>
            </a:pPr>
            <a:r>
              <a:rPr lang="en-US" sz="1000" b="1" dirty="0">
                <a:solidFill>
                  <a:schemeClr val="bg1"/>
                </a:solidFill>
                <a:latin typeface="Trebuchet MS"/>
                <a:sym typeface="Trebuchet MS" panose="020B0603020202020204" pitchFamily="34" charset="0"/>
              </a:rPr>
              <a:t>development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6C1FBCC-DFE3-AF4C-FFCE-B2AE12C84FF3}"/>
              </a:ext>
            </a:extLst>
          </p:cNvPr>
          <p:cNvSpPr txBox="1"/>
          <p:nvPr/>
        </p:nvSpPr>
        <p:spPr>
          <a:xfrm>
            <a:off x="6342543" y="1734512"/>
            <a:ext cx="2465230" cy="149141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ocess development</a:t>
            </a:r>
          </a:p>
          <a:p>
            <a:r>
              <a:rPr lang="en-US" dirty="0"/>
              <a:t>Supplier Trials and material procurement</a:t>
            </a:r>
          </a:p>
          <a:p>
            <a:r>
              <a:rPr lang="en-US" dirty="0"/>
              <a:t>Proto cell manufacturing</a:t>
            </a:r>
          </a:p>
          <a:p>
            <a:r>
              <a:rPr lang="en-US" dirty="0"/>
              <a:t>A-Sample testing (performance, lifetime, and safety)</a:t>
            </a:r>
          </a:p>
          <a:p>
            <a:r>
              <a:rPr lang="en-IN" sz="900" dirty="0"/>
              <a:t>Reparameterization of the models and simulation</a:t>
            </a:r>
          </a:p>
          <a:p>
            <a:r>
              <a:rPr lang="en-US" dirty="0"/>
              <a:t>Quantified comparison of test data with regards to specifications</a:t>
            </a:r>
          </a:p>
          <a:p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6581B1D-EC9D-92EB-A96C-CA9D4DBB7E19}"/>
              </a:ext>
            </a:extLst>
          </p:cNvPr>
          <p:cNvSpPr txBox="1"/>
          <p:nvPr/>
        </p:nvSpPr>
        <p:spPr>
          <a:xfrm>
            <a:off x="6342543" y="3319475"/>
            <a:ext cx="2465230" cy="135583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/>
                </a:solidFill>
              </a:defRPr>
            </a:lvl1pPr>
          </a:lstStyle>
          <a:p>
            <a:r>
              <a:rPr lang="en-IN" dirty="0"/>
              <a:t>1. Spec sheet for A-Sample</a:t>
            </a:r>
          </a:p>
          <a:p>
            <a:r>
              <a:rPr lang="en-IN" dirty="0"/>
              <a:t>2. Optimized BOM and Cell cost model</a:t>
            </a:r>
          </a:p>
          <a:p>
            <a:r>
              <a:rPr lang="en-IN" dirty="0"/>
              <a:t>3. Assembly drawing and Production CAD</a:t>
            </a:r>
          </a:p>
          <a:p>
            <a:r>
              <a:rPr lang="en-IN" dirty="0"/>
              <a:t>4. A-Sample electrode design (recipe, process parameter, and electrode feature)</a:t>
            </a:r>
          </a:p>
          <a:p>
            <a:r>
              <a:rPr lang="en-IN" dirty="0"/>
              <a:t>5. A-Sample testing report</a:t>
            </a:r>
          </a:p>
          <a:p>
            <a:r>
              <a:rPr lang="en-IN" dirty="0"/>
              <a:t>6. Updated simulation model</a:t>
            </a:r>
          </a:p>
          <a:p>
            <a:r>
              <a:rPr lang="en-IN" dirty="0"/>
              <a:t>7. Safety test summary</a:t>
            </a:r>
          </a:p>
          <a:p>
            <a:r>
              <a:rPr lang="en-IN" dirty="0"/>
              <a:t>8. Process optimization (PFD, Control plan)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70DC8BE-7CBB-9A9B-E4FC-61FF52149B6B}"/>
              </a:ext>
            </a:extLst>
          </p:cNvPr>
          <p:cNvSpPr txBox="1"/>
          <p:nvPr/>
        </p:nvSpPr>
        <p:spPr>
          <a:xfrm>
            <a:off x="6342543" y="4770656"/>
            <a:ext cx="2465230" cy="146454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38" name="ValueChainHeader">
            <a:extLst>
              <a:ext uri="{FF2B5EF4-FFF2-40B4-BE49-F238E27FC236}">
                <a16:creationId xmlns:a16="http://schemas.microsoft.com/office/drawing/2014/main" id="{881A10B4-B13B-0235-C708-FF5637203324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8927062" y="990571"/>
            <a:ext cx="2465230" cy="656842"/>
          </a:xfrm>
          <a:prstGeom prst="chevron">
            <a:avLst>
              <a:gd name="adj" fmla="val 12004"/>
            </a:avLst>
          </a:prstGeom>
          <a:solidFill>
            <a:schemeClr val="accent6">
              <a:lumMod val="75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ts val="800"/>
              <a:buFont typeface="Trebuchet MS" panose="020B0603020202020204" pitchFamily="34" charset="0"/>
              <a:buChar char="​"/>
            </a:pPr>
            <a:r>
              <a:rPr lang="en-US" sz="1000" b="1" dirty="0">
                <a:solidFill>
                  <a:schemeClr val="bg1"/>
                </a:solidFill>
                <a:latin typeface="Trebuchet MS"/>
                <a:sym typeface="Trebuchet MS" panose="020B0603020202020204" pitchFamily="34" charset="0"/>
              </a:rPr>
              <a:t>Pre-pilot </a:t>
            </a:r>
          </a:p>
          <a:p>
            <a:pPr algn="ctr">
              <a:buSzPts val="800"/>
              <a:buFont typeface="Trebuchet MS" panose="020B0603020202020204" pitchFamily="34" charset="0"/>
              <a:buChar char="​"/>
            </a:pPr>
            <a:r>
              <a:rPr lang="en-US" sz="1000" b="1" dirty="0">
                <a:solidFill>
                  <a:schemeClr val="bg1"/>
                </a:solidFill>
                <a:latin typeface="Trebuchet MS"/>
                <a:sym typeface="Trebuchet MS" panose="020B0603020202020204" pitchFamily="34" charset="0"/>
              </a:rPr>
              <a:t>Development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08F9754-062C-CF96-C289-C81B3E3D194F}"/>
              </a:ext>
            </a:extLst>
          </p:cNvPr>
          <p:cNvSpPr txBox="1"/>
          <p:nvPr/>
        </p:nvSpPr>
        <p:spPr>
          <a:xfrm>
            <a:off x="8927062" y="1723517"/>
            <a:ext cx="2465230" cy="149141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tx1"/>
                </a:solidFill>
              </a:defRPr>
            </a:lvl1pPr>
          </a:lstStyle>
          <a:p>
            <a:endParaRPr lang="en-IN" sz="9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C80BA00-8B40-C62B-D83A-6A9D0B442EB9}"/>
              </a:ext>
            </a:extLst>
          </p:cNvPr>
          <p:cNvSpPr txBox="1"/>
          <p:nvPr/>
        </p:nvSpPr>
        <p:spPr>
          <a:xfrm>
            <a:off x="8927062" y="3308480"/>
            <a:ext cx="2465230" cy="135583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02CAE7E-06FD-97BA-7CF8-EA3A391FB18F}"/>
              </a:ext>
            </a:extLst>
          </p:cNvPr>
          <p:cNvSpPr txBox="1"/>
          <p:nvPr/>
        </p:nvSpPr>
        <p:spPr>
          <a:xfrm>
            <a:off x="8927062" y="4759661"/>
            <a:ext cx="2465230" cy="146454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846379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685574-3D01-B2E4-D41A-F340BC94BF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C8DA05-17F3-1226-C9A1-9CCCD4030A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PD Process flow</a:t>
            </a:r>
          </a:p>
        </p:txBody>
      </p:sp>
      <p:sp>
        <p:nvSpPr>
          <p:cNvPr id="34" name="ValueChainHeader">
            <a:extLst>
              <a:ext uri="{FF2B5EF4-FFF2-40B4-BE49-F238E27FC236}">
                <a16:creationId xmlns:a16="http://schemas.microsoft.com/office/drawing/2014/main" id="{CA32747F-BB00-1970-4434-ED26D312E1EA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145235" y="990571"/>
            <a:ext cx="2465230" cy="656842"/>
          </a:xfrm>
          <a:prstGeom prst="chevron">
            <a:avLst>
              <a:gd name="adj" fmla="val 12004"/>
            </a:avLst>
          </a:prstGeom>
          <a:solidFill>
            <a:schemeClr val="accent6">
              <a:lumMod val="75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ts val="800"/>
              <a:buFont typeface="Trebuchet MS" panose="020B0603020202020204" pitchFamily="34" charset="0"/>
              <a:buChar char="​"/>
            </a:pPr>
            <a:r>
              <a:rPr lang="en-US" sz="1000" b="1" dirty="0">
                <a:solidFill>
                  <a:schemeClr val="bg1"/>
                </a:solidFill>
                <a:latin typeface="Trebuchet MS"/>
                <a:sym typeface="Trebuchet MS" panose="020B0603020202020204" pitchFamily="34" charset="0"/>
              </a:rPr>
              <a:t>Pilot production</a:t>
            </a:r>
          </a:p>
          <a:p>
            <a:pPr algn="ctr">
              <a:buSzPts val="800"/>
              <a:buFont typeface="Trebuchet MS" panose="020B0603020202020204" pitchFamily="34" charset="0"/>
              <a:buChar char="​"/>
            </a:pPr>
            <a:r>
              <a:rPr lang="en-US" sz="1000" b="1" dirty="0">
                <a:solidFill>
                  <a:schemeClr val="bg1"/>
                </a:solidFill>
                <a:latin typeface="Trebuchet MS"/>
                <a:sym typeface="Trebuchet MS" panose="020B0603020202020204" pitchFamily="34" charset="0"/>
              </a:rPr>
              <a:t>(Sample-B)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2E18601-663A-00A0-FEE3-AC659808BB1B}"/>
              </a:ext>
            </a:extLst>
          </p:cNvPr>
          <p:cNvSpPr txBox="1"/>
          <p:nvPr/>
        </p:nvSpPr>
        <p:spPr>
          <a:xfrm>
            <a:off x="1145235" y="1723517"/>
            <a:ext cx="2465230" cy="149141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N" sz="900" dirty="0">
              <a:solidFill>
                <a:schemeClr val="tx1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C1D70D0-8E34-8F16-9545-79275BFD0013}"/>
              </a:ext>
            </a:extLst>
          </p:cNvPr>
          <p:cNvSpPr txBox="1"/>
          <p:nvPr/>
        </p:nvSpPr>
        <p:spPr>
          <a:xfrm>
            <a:off x="1145234" y="3308480"/>
            <a:ext cx="2465231" cy="135583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tx1"/>
                </a:solidFill>
              </a:defRPr>
            </a:lvl1pPr>
          </a:lstStyle>
          <a:p>
            <a:endParaRPr lang="en-IN" sz="90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364F0FF-2645-3AE9-1414-19003F1813AE}"/>
              </a:ext>
            </a:extLst>
          </p:cNvPr>
          <p:cNvSpPr txBox="1"/>
          <p:nvPr/>
        </p:nvSpPr>
        <p:spPr>
          <a:xfrm>
            <a:off x="1145235" y="4759662"/>
            <a:ext cx="2465232" cy="14755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tx1"/>
                </a:solidFill>
              </a:defRPr>
            </a:lvl1pPr>
          </a:lstStyle>
          <a:p>
            <a:endParaRPr lang="en-IN" sz="900" dirty="0"/>
          </a:p>
        </p:txBody>
      </p:sp>
      <p:sp>
        <p:nvSpPr>
          <p:cNvPr id="38" name="ValueChainHeader">
            <a:extLst>
              <a:ext uri="{FF2B5EF4-FFF2-40B4-BE49-F238E27FC236}">
                <a16:creationId xmlns:a16="http://schemas.microsoft.com/office/drawing/2014/main" id="{55475DAD-5CB2-473A-5A00-0EE6C4F113AF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758024" y="1001566"/>
            <a:ext cx="2465230" cy="656842"/>
          </a:xfrm>
          <a:prstGeom prst="chevron">
            <a:avLst>
              <a:gd name="adj" fmla="val 12004"/>
            </a:avLst>
          </a:prstGeom>
          <a:solidFill>
            <a:schemeClr val="accent6">
              <a:lumMod val="75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ts val="800"/>
              <a:buFont typeface="Trebuchet MS" panose="020B0603020202020204" pitchFamily="34" charset="0"/>
              <a:buChar char="​"/>
            </a:pPr>
            <a:r>
              <a:rPr lang="en-US" sz="1000" b="1" dirty="0">
                <a:solidFill>
                  <a:schemeClr val="bg1"/>
                </a:solidFill>
                <a:latin typeface="Trebuchet MS"/>
                <a:sym typeface="Trebuchet MS" panose="020B0603020202020204" pitchFamily="34" charset="0"/>
              </a:rPr>
              <a:t>Gigafactory </a:t>
            </a:r>
          </a:p>
          <a:p>
            <a:pPr algn="ctr">
              <a:buSzPts val="800"/>
              <a:buFont typeface="Trebuchet MS" panose="020B0603020202020204" pitchFamily="34" charset="0"/>
              <a:buChar char="​"/>
            </a:pPr>
            <a:r>
              <a:rPr lang="en-US" sz="1000" b="1" dirty="0">
                <a:solidFill>
                  <a:schemeClr val="bg1"/>
                </a:solidFill>
                <a:latin typeface="Trebuchet MS"/>
                <a:sym typeface="Trebuchet MS" panose="020B0603020202020204" pitchFamily="34" charset="0"/>
              </a:rPr>
              <a:t>readiness &amp; SOP transition 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B1203E0-041A-7EC3-E6C5-5BAED5C38EE8}"/>
              </a:ext>
            </a:extLst>
          </p:cNvPr>
          <p:cNvSpPr txBox="1"/>
          <p:nvPr/>
        </p:nvSpPr>
        <p:spPr>
          <a:xfrm>
            <a:off x="3758024" y="1734512"/>
            <a:ext cx="2465230" cy="149141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tx1"/>
                </a:solidFill>
              </a:defRPr>
            </a:lvl1pPr>
          </a:lstStyle>
          <a:p>
            <a:endParaRPr lang="en-IN" sz="9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5BA99C3-364D-516D-0ECF-3F63B2C4D7BC}"/>
              </a:ext>
            </a:extLst>
          </p:cNvPr>
          <p:cNvSpPr txBox="1"/>
          <p:nvPr/>
        </p:nvSpPr>
        <p:spPr>
          <a:xfrm>
            <a:off x="3758024" y="3319475"/>
            <a:ext cx="2465230" cy="135583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12EBF29-C4CF-2E03-6196-2908B6980449}"/>
              </a:ext>
            </a:extLst>
          </p:cNvPr>
          <p:cNvSpPr txBox="1"/>
          <p:nvPr/>
        </p:nvSpPr>
        <p:spPr>
          <a:xfrm>
            <a:off x="3758024" y="4770656"/>
            <a:ext cx="2465230" cy="146454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42" name="ValueChainHeader">
            <a:extLst>
              <a:ext uri="{FF2B5EF4-FFF2-40B4-BE49-F238E27FC236}">
                <a16:creationId xmlns:a16="http://schemas.microsoft.com/office/drawing/2014/main" id="{A292302D-E818-B071-1D08-22B0FAFE8BC2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332286" y="1001566"/>
            <a:ext cx="2465230" cy="656842"/>
          </a:xfrm>
          <a:prstGeom prst="chevron">
            <a:avLst>
              <a:gd name="adj" fmla="val 12004"/>
            </a:avLst>
          </a:prstGeom>
          <a:solidFill>
            <a:schemeClr val="accent6">
              <a:lumMod val="75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ts val="800"/>
              <a:buFont typeface="Trebuchet MS" panose="020B0603020202020204" pitchFamily="34" charset="0"/>
              <a:buChar char="​"/>
            </a:pPr>
            <a:r>
              <a:rPr lang="en-US" sz="1000" b="1" dirty="0">
                <a:solidFill>
                  <a:schemeClr val="bg1"/>
                </a:solidFill>
                <a:latin typeface="Trebuchet MS"/>
                <a:sym typeface="Trebuchet MS" panose="020B0603020202020204" pitchFamily="34" charset="0"/>
              </a:rPr>
              <a:t>Start of productio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6C555706-A191-5D00-1EEF-0494934AF921}"/>
              </a:ext>
            </a:extLst>
          </p:cNvPr>
          <p:cNvSpPr txBox="1"/>
          <p:nvPr/>
        </p:nvSpPr>
        <p:spPr>
          <a:xfrm>
            <a:off x="6332286" y="1734512"/>
            <a:ext cx="2465230" cy="149141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tx1"/>
                </a:solidFill>
              </a:defRPr>
            </a:lvl1pPr>
          </a:lstStyle>
          <a:p>
            <a:endParaRPr lang="en-IN" sz="90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9366CC8-EE63-16BD-4920-13FD1FE994AE}"/>
              </a:ext>
            </a:extLst>
          </p:cNvPr>
          <p:cNvSpPr txBox="1"/>
          <p:nvPr/>
        </p:nvSpPr>
        <p:spPr>
          <a:xfrm>
            <a:off x="6332286" y="3319475"/>
            <a:ext cx="2465230" cy="135583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56A9D57F-08D6-92EE-1045-85584793512D}"/>
              </a:ext>
            </a:extLst>
          </p:cNvPr>
          <p:cNvSpPr txBox="1"/>
          <p:nvPr/>
        </p:nvSpPr>
        <p:spPr>
          <a:xfrm>
            <a:off x="6332286" y="4770656"/>
            <a:ext cx="2465230" cy="146454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06FBFBA-D2D0-527C-E17E-2365C5B20A87}"/>
              </a:ext>
            </a:extLst>
          </p:cNvPr>
          <p:cNvSpPr/>
          <p:nvPr/>
        </p:nvSpPr>
        <p:spPr>
          <a:xfrm rot="16200000">
            <a:off x="211506" y="2307768"/>
            <a:ext cx="1355834" cy="322915"/>
          </a:xfrm>
          <a:prstGeom prst="rect">
            <a:avLst/>
          </a:prstGeom>
          <a:solidFill>
            <a:srgbClr val="ED1B24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Procedur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445F88A1-5101-9CE4-213D-C707A8210CB5}"/>
              </a:ext>
            </a:extLst>
          </p:cNvPr>
          <p:cNvSpPr/>
          <p:nvPr/>
        </p:nvSpPr>
        <p:spPr>
          <a:xfrm rot="16200000">
            <a:off x="211506" y="3839618"/>
            <a:ext cx="1355834" cy="293559"/>
          </a:xfrm>
          <a:prstGeom prst="rect">
            <a:avLst/>
          </a:prstGeom>
          <a:solidFill>
            <a:srgbClr val="ED1B24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Deliverable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E623ED40-4715-CE17-78C8-D050035DE96A}"/>
              </a:ext>
            </a:extLst>
          </p:cNvPr>
          <p:cNvSpPr/>
          <p:nvPr/>
        </p:nvSpPr>
        <p:spPr>
          <a:xfrm rot="16200000">
            <a:off x="211506" y="5290800"/>
            <a:ext cx="1355834" cy="293559"/>
          </a:xfrm>
          <a:prstGeom prst="rect">
            <a:avLst/>
          </a:prstGeom>
          <a:solidFill>
            <a:srgbClr val="ED1B24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Decision Criteria</a:t>
            </a:r>
          </a:p>
        </p:txBody>
      </p:sp>
    </p:spTree>
    <p:extLst>
      <p:ext uri="{BB962C8B-B14F-4D97-AF65-F5344CB8AC3E}">
        <p14:creationId xmlns:p14="http://schemas.microsoft.com/office/powerpoint/2010/main" val="2821930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heme/theme1.xml><?xml version="1.0" encoding="utf-8"?>
<a:theme xmlns:a="http://schemas.openxmlformats.org/drawingml/2006/main" name="Exide Grid 16:9 - 15353">
  <a:themeElements>
    <a:clrScheme name="Custom 3">
      <a:dk1>
        <a:srgbClr val="000000"/>
      </a:dk1>
      <a:lt1>
        <a:sysClr val="window" lastClr="FFFFFF"/>
      </a:lt1>
      <a:dk2>
        <a:srgbClr val="ED1B24"/>
      </a:dk2>
      <a:lt2>
        <a:srgbClr val="F2F2F2"/>
      </a:lt2>
      <a:accent1>
        <a:srgbClr val="7F0000"/>
      </a:accent1>
      <a:accent2>
        <a:srgbClr val="C00000"/>
      </a:accent2>
      <a:accent3>
        <a:srgbClr val="003366"/>
      </a:accent3>
      <a:accent4>
        <a:srgbClr val="FF7C80"/>
      </a:accent4>
      <a:accent5>
        <a:srgbClr val="4D4D4D"/>
      </a:accent5>
      <a:accent6>
        <a:srgbClr val="0C4CA3"/>
      </a:accent6>
      <a:hlink>
        <a:srgbClr val="003300"/>
      </a:hlink>
      <a:folHlink>
        <a:srgbClr val="299C3C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8_Exide Grid 16:9 - 15353">
  <a:themeElements>
    <a:clrScheme name="Custom 3">
      <a:dk1>
        <a:srgbClr val="000000"/>
      </a:dk1>
      <a:lt1>
        <a:sysClr val="window" lastClr="FFFFFF"/>
      </a:lt1>
      <a:dk2>
        <a:srgbClr val="ED1B24"/>
      </a:dk2>
      <a:lt2>
        <a:srgbClr val="F2F2F2"/>
      </a:lt2>
      <a:accent1>
        <a:srgbClr val="7F0000"/>
      </a:accent1>
      <a:accent2>
        <a:srgbClr val="C00000"/>
      </a:accent2>
      <a:accent3>
        <a:srgbClr val="003366"/>
      </a:accent3>
      <a:accent4>
        <a:srgbClr val="FF7C80"/>
      </a:accent4>
      <a:accent5>
        <a:srgbClr val="4D4D4D"/>
      </a:accent5>
      <a:accent6>
        <a:srgbClr val="0C4CA3"/>
      </a:accent6>
      <a:hlink>
        <a:srgbClr val="003300"/>
      </a:hlink>
      <a:folHlink>
        <a:srgbClr val="299C3C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10_Exide Grid 16:9 - 15353">
  <a:themeElements>
    <a:clrScheme name="Custom 3">
      <a:dk1>
        <a:srgbClr val="000000"/>
      </a:dk1>
      <a:lt1>
        <a:sysClr val="window" lastClr="FFFFFF"/>
      </a:lt1>
      <a:dk2>
        <a:srgbClr val="ED1B24"/>
      </a:dk2>
      <a:lt2>
        <a:srgbClr val="F2F2F2"/>
      </a:lt2>
      <a:accent1>
        <a:srgbClr val="7F0000"/>
      </a:accent1>
      <a:accent2>
        <a:srgbClr val="C00000"/>
      </a:accent2>
      <a:accent3>
        <a:srgbClr val="003366"/>
      </a:accent3>
      <a:accent4>
        <a:srgbClr val="FF7C80"/>
      </a:accent4>
      <a:accent5>
        <a:srgbClr val="4D4D4D"/>
      </a:accent5>
      <a:accent6>
        <a:srgbClr val="0C4CA3"/>
      </a:accent6>
      <a:hlink>
        <a:srgbClr val="003300"/>
      </a:hlink>
      <a:folHlink>
        <a:srgbClr val="299C3C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9_Exide Grid 16:9 - 15353">
  <a:themeElements>
    <a:clrScheme name="Custom 3">
      <a:dk1>
        <a:srgbClr val="000000"/>
      </a:dk1>
      <a:lt1>
        <a:sysClr val="window" lastClr="FFFFFF"/>
      </a:lt1>
      <a:dk2>
        <a:srgbClr val="ED1B24"/>
      </a:dk2>
      <a:lt2>
        <a:srgbClr val="F2F2F2"/>
      </a:lt2>
      <a:accent1>
        <a:srgbClr val="7F0000"/>
      </a:accent1>
      <a:accent2>
        <a:srgbClr val="C00000"/>
      </a:accent2>
      <a:accent3>
        <a:srgbClr val="003366"/>
      </a:accent3>
      <a:accent4>
        <a:srgbClr val="FF7C80"/>
      </a:accent4>
      <a:accent5>
        <a:srgbClr val="4D4D4D"/>
      </a:accent5>
      <a:accent6>
        <a:srgbClr val="0C4CA3"/>
      </a:accent6>
      <a:hlink>
        <a:srgbClr val="003300"/>
      </a:hlink>
      <a:folHlink>
        <a:srgbClr val="299C3C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5.xml><?xml version="1.0" encoding="utf-8"?>
<a:theme xmlns:a="http://schemas.openxmlformats.org/drawingml/2006/main" name="Exide Grid 16:9 - 15353">
  <a:themeElements>
    <a:clrScheme name="Custom 3">
      <a:dk1>
        <a:srgbClr val="000000"/>
      </a:dk1>
      <a:lt1>
        <a:sysClr val="window" lastClr="FFFFFF"/>
      </a:lt1>
      <a:dk2>
        <a:srgbClr val="ED1B24"/>
      </a:dk2>
      <a:lt2>
        <a:srgbClr val="F2F2F2"/>
      </a:lt2>
      <a:accent1>
        <a:srgbClr val="7F0000"/>
      </a:accent1>
      <a:accent2>
        <a:srgbClr val="C00000"/>
      </a:accent2>
      <a:accent3>
        <a:srgbClr val="003366"/>
      </a:accent3>
      <a:accent4>
        <a:srgbClr val="FF7C80"/>
      </a:accent4>
      <a:accent5>
        <a:srgbClr val="4D4D4D"/>
      </a:accent5>
      <a:accent6>
        <a:srgbClr val="0C4CA3"/>
      </a:accent6>
      <a:hlink>
        <a:srgbClr val="003300"/>
      </a:hlink>
      <a:folHlink>
        <a:srgbClr val="299C3C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Custom 3">
    <a:dk1>
      <a:srgbClr val="000000"/>
    </a:dk1>
    <a:lt1>
      <a:sysClr val="window" lastClr="FFFFFF"/>
    </a:lt1>
    <a:dk2>
      <a:srgbClr val="ED1B24"/>
    </a:dk2>
    <a:lt2>
      <a:srgbClr val="F2F2F2"/>
    </a:lt2>
    <a:accent1>
      <a:srgbClr val="7F0000"/>
    </a:accent1>
    <a:accent2>
      <a:srgbClr val="C00000"/>
    </a:accent2>
    <a:accent3>
      <a:srgbClr val="003366"/>
    </a:accent3>
    <a:accent4>
      <a:srgbClr val="FF7C80"/>
    </a:accent4>
    <a:accent5>
      <a:srgbClr val="4D4D4D"/>
    </a:accent5>
    <a:accent6>
      <a:srgbClr val="0C4CA3"/>
    </a:accent6>
    <a:hlink>
      <a:srgbClr val="003300"/>
    </a:hlink>
    <a:folHlink>
      <a:srgbClr val="299C3C"/>
    </a:folHlink>
  </a:clrScheme>
</a:themeOverride>
</file>

<file path=ppt/theme/themeOverride10.xml><?xml version="1.0" encoding="utf-8"?>
<a:themeOverride xmlns:a="http://schemas.openxmlformats.org/drawingml/2006/main">
  <a:clrScheme name="Custom 3">
    <a:dk1>
      <a:srgbClr val="000000"/>
    </a:dk1>
    <a:lt1>
      <a:sysClr val="window" lastClr="FFFFFF"/>
    </a:lt1>
    <a:dk2>
      <a:srgbClr val="ED1B24"/>
    </a:dk2>
    <a:lt2>
      <a:srgbClr val="F2F2F2"/>
    </a:lt2>
    <a:accent1>
      <a:srgbClr val="7F0000"/>
    </a:accent1>
    <a:accent2>
      <a:srgbClr val="C00000"/>
    </a:accent2>
    <a:accent3>
      <a:srgbClr val="003366"/>
    </a:accent3>
    <a:accent4>
      <a:srgbClr val="FF7C80"/>
    </a:accent4>
    <a:accent5>
      <a:srgbClr val="4D4D4D"/>
    </a:accent5>
    <a:accent6>
      <a:srgbClr val="0C4CA3"/>
    </a:accent6>
    <a:hlink>
      <a:srgbClr val="003300"/>
    </a:hlink>
    <a:folHlink>
      <a:srgbClr val="299C3C"/>
    </a:folHlink>
  </a:clrScheme>
</a:themeOverride>
</file>

<file path=ppt/theme/themeOverride11.xml><?xml version="1.0" encoding="utf-8"?>
<a:themeOverride xmlns:a="http://schemas.openxmlformats.org/drawingml/2006/main">
  <a:clrScheme name="Custom 3">
    <a:dk1>
      <a:srgbClr val="000000"/>
    </a:dk1>
    <a:lt1>
      <a:sysClr val="window" lastClr="FFFFFF"/>
    </a:lt1>
    <a:dk2>
      <a:srgbClr val="ED1B24"/>
    </a:dk2>
    <a:lt2>
      <a:srgbClr val="F2F2F2"/>
    </a:lt2>
    <a:accent1>
      <a:srgbClr val="7F0000"/>
    </a:accent1>
    <a:accent2>
      <a:srgbClr val="C00000"/>
    </a:accent2>
    <a:accent3>
      <a:srgbClr val="003366"/>
    </a:accent3>
    <a:accent4>
      <a:srgbClr val="FF7C80"/>
    </a:accent4>
    <a:accent5>
      <a:srgbClr val="4D4D4D"/>
    </a:accent5>
    <a:accent6>
      <a:srgbClr val="0C4CA3"/>
    </a:accent6>
    <a:hlink>
      <a:srgbClr val="003300"/>
    </a:hlink>
    <a:folHlink>
      <a:srgbClr val="299C3C"/>
    </a:folHlink>
  </a:clrScheme>
</a:themeOverride>
</file>

<file path=ppt/theme/themeOverride2.xml><?xml version="1.0" encoding="utf-8"?>
<a:themeOverride xmlns:a="http://schemas.openxmlformats.org/drawingml/2006/main">
  <a:clrScheme name="Custom 3">
    <a:dk1>
      <a:srgbClr val="000000"/>
    </a:dk1>
    <a:lt1>
      <a:sysClr val="window" lastClr="FFFFFF"/>
    </a:lt1>
    <a:dk2>
      <a:srgbClr val="ED1B24"/>
    </a:dk2>
    <a:lt2>
      <a:srgbClr val="F2F2F2"/>
    </a:lt2>
    <a:accent1>
      <a:srgbClr val="7F0000"/>
    </a:accent1>
    <a:accent2>
      <a:srgbClr val="C00000"/>
    </a:accent2>
    <a:accent3>
      <a:srgbClr val="003366"/>
    </a:accent3>
    <a:accent4>
      <a:srgbClr val="FF7C80"/>
    </a:accent4>
    <a:accent5>
      <a:srgbClr val="4D4D4D"/>
    </a:accent5>
    <a:accent6>
      <a:srgbClr val="0C4CA3"/>
    </a:accent6>
    <a:hlink>
      <a:srgbClr val="003300"/>
    </a:hlink>
    <a:folHlink>
      <a:srgbClr val="299C3C"/>
    </a:folHlink>
  </a:clrScheme>
</a:themeOverride>
</file>

<file path=ppt/theme/themeOverride3.xml><?xml version="1.0" encoding="utf-8"?>
<a:themeOverride xmlns:a="http://schemas.openxmlformats.org/drawingml/2006/main">
  <a:clrScheme name="Custom 3">
    <a:dk1>
      <a:srgbClr val="000000"/>
    </a:dk1>
    <a:lt1>
      <a:sysClr val="window" lastClr="FFFFFF"/>
    </a:lt1>
    <a:dk2>
      <a:srgbClr val="ED1B24"/>
    </a:dk2>
    <a:lt2>
      <a:srgbClr val="F2F2F2"/>
    </a:lt2>
    <a:accent1>
      <a:srgbClr val="7F0000"/>
    </a:accent1>
    <a:accent2>
      <a:srgbClr val="C00000"/>
    </a:accent2>
    <a:accent3>
      <a:srgbClr val="003366"/>
    </a:accent3>
    <a:accent4>
      <a:srgbClr val="FF7C80"/>
    </a:accent4>
    <a:accent5>
      <a:srgbClr val="4D4D4D"/>
    </a:accent5>
    <a:accent6>
      <a:srgbClr val="0C4CA3"/>
    </a:accent6>
    <a:hlink>
      <a:srgbClr val="003300"/>
    </a:hlink>
    <a:folHlink>
      <a:srgbClr val="299C3C"/>
    </a:folHlink>
  </a:clrScheme>
</a:themeOverride>
</file>

<file path=ppt/theme/themeOverride4.xml><?xml version="1.0" encoding="utf-8"?>
<a:themeOverride xmlns:a="http://schemas.openxmlformats.org/drawingml/2006/main">
  <a:clrScheme name="Custom 3">
    <a:dk1>
      <a:srgbClr val="000000"/>
    </a:dk1>
    <a:lt1>
      <a:sysClr val="window" lastClr="FFFFFF"/>
    </a:lt1>
    <a:dk2>
      <a:srgbClr val="ED1B24"/>
    </a:dk2>
    <a:lt2>
      <a:srgbClr val="F2F2F2"/>
    </a:lt2>
    <a:accent1>
      <a:srgbClr val="7F0000"/>
    </a:accent1>
    <a:accent2>
      <a:srgbClr val="C00000"/>
    </a:accent2>
    <a:accent3>
      <a:srgbClr val="003366"/>
    </a:accent3>
    <a:accent4>
      <a:srgbClr val="FF7C80"/>
    </a:accent4>
    <a:accent5>
      <a:srgbClr val="4D4D4D"/>
    </a:accent5>
    <a:accent6>
      <a:srgbClr val="0C4CA3"/>
    </a:accent6>
    <a:hlink>
      <a:srgbClr val="003300"/>
    </a:hlink>
    <a:folHlink>
      <a:srgbClr val="299C3C"/>
    </a:folHlink>
  </a:clrScheme>
</a:themeOverride>
</file>

<file path=ppt/theme/themeOverride5.xml><?xml version="1.0" encoding="utf-8"?>
<a:themeOverride xmlns:a="http://schemas.openxmlformats.org/drawingml/2006/main">
  <a:clrScheme name="Custom 3">
    <a:dk1>
      <a:srgbClr val="000000"/>
    </a:dk1>
    <a:lt1>
      <a:sysClr val="window" lastClr="FFFFFF"/>
    </a:lt1>
    <a:dk2>
      <a:srgbClr val="ED1B24"/>
    </a:dk2>
    <a:lt2>
      <a:srgbClr val="F2F2F2"/>
    </a:lt2>
    <a:accent1>
      <a:srgbClr val="7F0000"/>
    </a:accent1>
    <a:accent2>
      <a:srgbClr val="C00000"/>
    </a:accent2>
    <a:accent3>
      <a:srgbClr val="003366"/>
    </a:accent3>
    <a:accent4>
      <a:srgbClr val="FF7C80"/>
    </a:accent4>
    <a:accent5>
      <a:srgbClr val="4D4D4D"/>
    </a:accent5>
    <a:accent6>
      <a:srgbClr val="0C4CA3"/>
    </a:accent6>
    <a:hlink>
      <a:srgbClr val="003300"/>
    </a:hlink>
    <a:folHlink>
      <a:srgbClr val="299C3C"/>
    </a:folHlink>
  </a:clrScheme>
</a:themeOverride>
</file>

<file path=ppt/theme/themeOverride6.xml><?xml version="1.0" encoding="utf-8"?>
<a:themeOverride xmlns:a="http://schemas.openxmlformats.org/drawingml/2006/main">
  <a:clrScheme name="Custom 3">
    <a:dk1>
      <a:srgbClr val="000000"/>
    </a:dk1>
    <a:lt1>
      <a:sysClr val="window" lastClr="FFFFFF"/>
    </a:lt1>
    <a:dk2>
      <a:srgbClr val="ED1B24"/>
    </a:dk2>
    <a:lt2>
      <a:srgbClr val="F2F2F2"/>
    </a:lt2>
    <a:accent1>
      <a:srgbClr val="7F0000"/>
    </a:accent1>
    <a:accent2>
      <a:srgbClr val="C00000"/>
    </a:accent2>
    <a:accent3>
      <a:srgbClr val="003366"/>
    </a:accent3>
    <a:accent4>
      <a:srgbClr val="FF7C80"/>
    </a:accent4>
    <a:accent5>
      <a:srgbClr val="4D4D4D"/>
    </a:accent5>
    <a:accent6>
      <a:srgbClr val="0C4CA3"/>
    </a:accent6>
    <a:hlink>
      <a:srgbClr val="003300"/>
    </a:hlink>
    <a:folHlink>
      <a:srgbClr val="299C3C"/>
    </a:folHlink>
  </a:clrScheme>
</a:themeOverride>
</file>

<file path=ppt/theme/themeOverride7.xml><?xml version="1.0" encoding="utf-8"?>
<a:themeOverride xmlns:a="http://schemas.openxmlformats.org/drawingml/2006/main">
  <a:clrScheme name="Custom 3">
    <a:dk1>
      <a:srgbClr val="000000"/>
    </a:dk1>
    <a:lt1>
      <a:sysClr val="window" lastClr="FFFFFF"/>
    </a:lt1>
    <a:dk2>
      <a:srgbClr val="ED1B24"/>
    </a:dk2>
    <a:lt2>
      <a:srgbClr val="F2F2F2"/>
    </a:lt2>
    <a:accent1>
      <a:srgbClr val="7F0000"/>
    </a:accent1>
    <a:accent2>
      <a:srgbClr val="C00000"/>
    </a:accent2>
    <a:accent3>
      <a:srgbClr val="003366"/>
    </a:accent3>
    <a:accent4>
      <a:srgbClr val="FF7C80"/>
    </a:accent4>
    <a:accent5>
      <a:srgbClr val="4D4D4D"/>
    </a:accent5>
    <a:accent6>
      <a:srgbClr val="0C4CA3"/>
    </a:accent6>
    <a:hlink>
      <a:srgbClr val="003300"/>
    </a:hlink>
    <a:folHlink>
      <a:srgbClr val="299C3C"/>
    </a:folHlink>
  </a:clrScheme>
</a:themeOverride>
</file>

<file path=ppt/theme/themeOverride8.xml><?xml version="1.0" encoding="utf-8"?>
<a:themeOverride xmlns:a="http://schemas.openxmlformats.org/drawingml/2006/main">
  <a:clrScheme name="Custom 3">
    <a:dk1>
      <a:srgbClr val="000000"/>
    </a:dk1>
    <a:lt1>
      <a:sysClr val="window" lastClr="FFFFFF"/>
    </a:lt1>
    <a:dk2>
      <a:srgbClr val="ED1B24"/>
    </a:dk2>
    <a:lt2>
      <a:srgbClr val="F2F2F2"/>
    </a:lt2>
    <a:accent1>
      <a:srgbClr val="7F0000"/>
    </a:accent1>
    <a:accent2>
      <a:srgbClr val="C00000"/>
    </a:accent2>
    <a:accent3>
      <a:srgbClr val="003366"/>
    </a:accent3>
    <a:accent4>
      <a:srgbClr val="FF7C80"/>
    </a:accent4>
    <a:accent5>
      <a:srgbClr val="4D4D4D"/>
    </a:accent5>
    <a:accent6>
      <a:srgbClr val="0C4CA3"/>
    </a:accent6>
    <a:hlink>
      <a:srgbClr val="003300"/>
    </a:hlink>
    <a:folHlink>
      <a:srgbClr val="299C3C"/>
    </a:folHlink>
  </a:clrScheme>
</a:themeOverride>
</file>

<file path=ppt/theme/themeOverride9.xml><?xml version="1.0" encoding="utf-8"?>
<a:themeOverride xmlns:a="http://schemas.openxmlformats.org/drawingml/2006/main">
  <a:clrScheme name="Custom 3">
    <a:dk1>
      <a:srgbClr val="000000"/>
    </a:dk1>
    <a:lt1>
      <a:sysClr val="window" lastClr="FFFFFF"/>
    </a:lt1>
    <a:dk2>
      <a:srgbClr val="ED1B24"/>
    </a:dk2>
    <a:lt2>
      <a:srgbClr val="F2F2F2"/>
    </a:lt2>
    <a:accent1>
      <a:srgbClr val="7F0000"/>
    </a:accent1>
    <a:accent2>
      <a:srgbClr val="C00000"/>
    </a:accent2>
    <a:accent3>
      <a:srgbClr val="003366"/>
    </a:accent3>
    <a:accent4>
      <a:srgbClr val="FF7C80"/>
    </a:accent4>
    <a:accent5>
      <a:srgbClr val="4D4D4D"/>
    </a:accent5>
    <a:accent6>
      <a:srgbClr val="0C4CA3"/>
    </a:accent6>
    <a:hlink>
      <a:srgbClr val="003300"/>
    </a:hlink>
    <a:folHlink>
      <a:srgbClr val="299C3C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29</TotalTime>
  <Words>367</Words>
  <Application>Microsoft Macintosh PowerPoint</Application>
  <PresentationFormat>Widescreen</PresentationFormat>
  <Paragraphs>75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4" baseType="lpstr">
      <vt:lpstr>Aptos</vt:lpstr>
      <vt:lpstr>Arial</vt:lpstr>
      <vt:lpstr>Calibri</vt:lpstr>
      <vt:lpstr>Gotham Bold</vt:lpstr>
      <vt:lpstr>Montserrat</vt:lpstr>
      <vt:lpstr>Trebuchet MS</vt:lpstr>
      <vt:lpstr>Exide Grid 16:9 - 15353</vt:lpstr>
      <vt:lpstr>8_Exide Grid 16:9 - 15353</vt:lpstr>
      <vt:lpstr>10_Exide Grid 16:9 - 15353</vt:lpstr>
      <vt:lpstr>9_Exide Grid 16:9 - 15353</vt:lpstr>
      <vt:lpstr>Exide Grid 16:9 - 15353</vt:lpstr>
      <vt:lpstr>think-cell Slide</vt:lpstr>
      <vt:lpstr>NPD Process description</vt:lpstr>
      <vt:lpstr>NPD Process flow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ulkit Sharma</dc:creator>
  <cp:lastModifiedBy>Pulkit Sharma</cp:lastModifiedBy>
  <cp:revision>2</cp:revision>
  <dcterms:created xsi:type="dcterms:W3CDTF">2025-06-02T15:40:42Z</dcterms:created>
  <dcterms:modified xsi:type="dcterms:W3CDTF">2025-06-07T00:30:55Z</dcterms:modified>
</cp:coreProperties>
</file>